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709" r:id="rId3"/>
  </p:sldMasterIdLst>
  <p:notesMasterIdLst>
    <p:notesMasterId r:id="rId14"/>
  </p:notesMasterIdLst>
  <p:sldIdLst>
    <p:sldId id="324" r:id="rId4"/>
    <p:sldId id="262" r:id="rId5"/>
    <p:sldId id="339" r:id="rId6"/>
    <p:sldId id="343" r:id="rId7"/>
    <p:sldId id="341" r:id="rId8"/>
    <p:sldId id="345" r:id="rId9"/>
    <p:sldId id="344" r:id="rId10"/>
    <p:sldId id="346" r:id="rId11"/>
    <p:sldId id="342" r:id="rId12"/>
    <p:sldId id="308" r:id="rId1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9DE"/>
    <a:srgbClr val="FF798C"/>
    <a:srgbClr val="FF3300"/>
    <a:srgbClr val="D5001C"/>
    <a:srgbClr val="0036BF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53A96A-0549-4822-9EAE-9AFF1ADAE6AC}" v="188" dt="2021-05-05T21:31:52.140"/>
    <p1510:client id="{7B11D843-E38C-46BD-A1B8-AD1505D14D9D}" v="310" dt="2021-05-05T21:57:07.700"/>
    <p1510:client id="{8BE242A4-6821-4E24-8DAF-B596351D65BE}" v="13" dt="2021-05-05T12:51:12.76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41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B64C8B-EB99-4A4E-87D9-0D56AC7D5E34}" type="datetimeFigureOut">
              <a:rPr lang="de-DE" smtClean="0"/>
              <a:t>05.05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56A199-6314-4EEA-80AD-CD66512701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70206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56A199-6314-4EEA-80AD-CD66512701F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833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56A199-6314-4EEA-80AD-CD66512701F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2872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56A199-6314-4EEA-80AD-CD66512701F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0769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56A199-6314-4EEA-80AD-CD66512701F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5140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C7A07-96C3-42AF-943D-953C86C3DA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63557"/>
            <a:ext cx="9144000" cy="2387600"/>
          </a:xfrm>
        </p:spPr>
        <p:txBody>
          <a:bodyPr anchor="b">
            <a:normAutofit/>
          </a:bodyPr>
          <a:lstStyle>
            <a:lvl1pPr algn="ctr">
              <a:lnSpc>
                <a:spcPct val="90000"/>
              </a:lnSpc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EE38DF-F503-4E79-B1B0-16489708A1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943232"/>
            <a:ext cx="9144000" cy="1655762"/>
          </a:xfrm>
        </p:spPr>
        <p:txBody>
          <a:bodyPr>
            <a:normAutofit/>
          </a:bodyPr>
          <a:lstStyle>
            <a:lvl1pPr marL="0" indent="0" algn="ctr">
              <a:lnSpc>
                <a:spcPts val="3200"/>
              </a:lnSpc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1D965B-87A4-4F43-BE02-800BCCDF42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624" y="6217920"/>
            <a:ext cx="2743200" cy="640080"/>
          </a:xfrm>
        </p:spPr>
        <p:txBody>
          <a:bodyPr anchor="ctr" anchorCtr="0"/>
          <a:lstStyle/>
          <a:p>
            <a:fld id="{403CB87E-4591-47A1-9046-CF63F17215EF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9ED35B-CBF1-40D9-BAA7-CF9E1E22B8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67328" y="6217920"/>
            <a:ext cx="7196328" cy="640080"/>
          </a:xfrm>
        </p:spPr>
        <p:txBody>
          <a:bodyPr anchor="ctr" anchorCtr="0"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26653A-450D-4BDE-8718-99F2D9314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3152" y="0"/>
            <a:ext cx="685800" cy="685800"/>
          </a:xfrm>
        </p:spPr>
        <p:txBody>
          <a:bodyPr/>
          <a:lstStyle>
            <a:lvl1pPr algn="ctr">
              <a:defRPr/>
            </a:lvl1pPr>
          </a:lstStyle>
          <a:p>
            <a:fld id="{3A4F6043-7A67-491B-98BC-F933DED7226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22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D930A-6467-4C46-BA13-A0F5EC12F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41977A-7872-4BE8-8C5C-D2099BEDBB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CB8191-8A0C-4077-9A2D-0255BF81A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17F0E-8070-4DFE-A821-9A699EDBAD7E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441B40-57AC-45F3-9AAC-DC2BEBB121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6D65F4-29FA-451A-878F-768E426A7E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95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D76A9FC-D582-4FC8-B641-9F77B4DD15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3A1683-12F6-4BA6-AD1A-F98C609514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141D6-1E1A-4A54-A9B4-57F86865F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8D34AE-C7BF-46E5-A968-01C6641F6476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7541D6-4702-4421-AEB2-D6CA3AADB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3C9F43-CD60-4C38-94C9-0E6D3B722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72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C2ED5B2-8DFC-4864-8442-56CA06BC5DA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26516A-14A4-46D3-A41A-CBB211073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6BE146A5-BAF4-4054-A6FC-9A94B206CF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6" y="1348031"/>
            <a:ext cx="10606868" cy="4158067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38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1438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4550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absch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35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0FB9F193-AE4C-4A2A-8E95-3F077B73C0F8}"/>
              </a:ext>
            </a:extLst>
          </p:cNvPr>
          <p:cNvSpPr/>
          <p:nvPr userDrawn="1"/>
        </p:nvSpPr>
        <p:spPr>
          <a:xfrm>
            <a:off x="-1" y="1"/>
            <a:ext cx="1144085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lvl="0" algn="ctr"/>
            <a:endParaRPr lang="de-DE" sz="2400" err="1">
              <a:latin typeface="+mj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AAF3A9F-E821-499A-BEC2-27A3632A7486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2"/>
          <p:cNvSpPr>
            <a:spLocks noGrp="1"/>
          </p:cNvSpPr>
          <p:nvPr>
            <p:ph type="pic" sz="quarter" idx="17"/>
          </p:nvPr>
        </p:nvSpPr>
        <p:spPr>
          <a:xfrm>
            <a:off x="912286" y="1009651"/>
            <a:ext cx="11279716" cy="4838550"/>
          </a:xfrm>
          <a:prstGeom prst="rect">
            <a:avLst/>
          </a:prstGeom>
          <a:solidFill>
            <a:schemeClr val="bg1"/>
          </a:solidFill>
        </p:spPr>
        <p:txBody>
          <a:bodyPr anchor="b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-1" y="1009652"/>
            <a:ext cx="6572644" cy="1754575"/>
          </a:xfrm>
          <a:custGeom>
            <a:avLst/>
            <a:gdLst>
              <a:gd name="connsiteX0" fmla="*/ 0 w 4859308"/>
              <a:gd name="connsiteY0" fmla="*/ 0 h 1582989"/>
              <a:gd name="connsiteX1" fmla="*/ 4859308 w 4859308"/>
              <a:gd name="connsiteY1" fmla="*/ 0 h 1582989"/>
              <a:gd name="connsiteX2" fmla="*/ 4859308 w 4859308"/>
              <a:gd name="connsiteY2" fmla="*/ 1582989 h 1582989"/>
              <a:gd name="connsiteX3" fmla="*/ 0 w 4859308"/>
              <a:gd name="connsiteY3" fmla="*/ 1582989 h 1582989"/>
              <a:gd name="connsiteX4" fmla="*/ 0 w 4859308"/>
              <a:gd name="connsiteY4" fmla="*/ 0 h 1582989"/>
              <a:gd name="connsiteX0" fmla="*/ 0 w 5795653"/>
              <a:gd name="connsiteY0" fmla="*/ 0 h 1582989"/>
              <a:gd name="connsiteX1" fmla="*/ 4859308 w 5795653"/>
              <a:gd name="connsiteY1" fmla="*/ 0 h 1582989"/>
              <a:gd name="connsiteX2" fmla="*/ 5795653 w 5795653"/>
              <a:gd name="connsiteY2" fmla="*/ 1575674 h 1582989"/>
              <a:gd name="connsiteX3" fmla="*/ 0 w 5795653"/>
              <a:gd name="connsiteY3" fmla="*/ 1582989 h 1582989"/>
              <a:gd name="connsiteX4" fmla="*/ 0 w 5795653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75674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82989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5439" h="1582989">
                <a:moveTo>
                  <a:pt x="0" y="0"/>
                </a:moveTo>
                <a:lnTo>
                  <a:pt x="4859308" y="0"/>
                </a:lnTo>
                <a:lnTo>
                  <a:pt x="5615439" y="1582989"/>
                </a:lnTo>
                <a:lnTo>
                  <a:pt x="0" y="1582989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none" lIns="684000" tIns="180000" rIns="1260000" bIns="900000">
            <a:spAutoFit/>
          </a:bodyPr>
          <a:lstStyle>
            <a:lvl1pPr algn="l">
              <a:defRPr sz="4315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Titel</a:t>
            </a:r>
            <a:r>
              <a:rPr lang="en-US"/>
              <a:t> / </a:t>
            </a:r>
            <a:r>
              <a:rPr lang="en-US" err="1"/>
              <a:t>Veranstaltung</a:t>
            </a:r>
            <a:endParaRPr lang="en-US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D65D662-8F5E-4621-A86C-89E2733D22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2284" y="2035717"/>
            <a:ext cx="2211759" cy="3520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800"/>
              </a:spcBef>
              <a:buNone/>
              <a:defRPr sz="2158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676C5FC-564D-48EB-93AA-C8A3462DA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2284" y="2453648"/>
            <a:ext cx="1217706" cy="3520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800"/>
              </a:spcBef>
              <a:buNone/>
              <a:defRPr sz="2158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189845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9210DFC-0BD9-4A14-BA0A-2FF7D6A1E1D3}"/>
              </a:ext>
            </a:extLst>
          </p:cNvPr>
          <p:cNvSpPr/>
          <p:nvPr userDrawn="1"/>
        </p:nvSpPr>
        <p:spPr>
          <a:xfrm>
            <a:off x="0" y="5847568"/>
            <a:ext cx="1136084" cy="10104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58" err="1">
              <a:solidFill>
                <a:schemeClr val="tx1"/>
              </a:solidFill>
            </a:endParaRPr>
          </a:p>
        </p:txBody>
      </p:sp>
      <p:sp>
        <p:nvSpPr>
          <p:cNvPr id="11" name="Bildplatzhalter 12">
            <a:extLst>
              <a:ext uri="{FF2B5EF4-FFF2-40B4-BE49-F238E27FC236}">
                <a16:creationId xmlns:a16="http://schemas.microsoft.com/office/drawing/2014/main" id="{12460F4B-E8C5-4630-A020-1AA387B00D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12192000" cy="5848351"/>
          </a:xfrm>
          <a:prstGeom prst="rect">
            <a:avLst/>
          </a:prstGeom>
          <a:solidFill>
            <a:schemeClr val="tx1"/>
          </a:solidFill>
        </p:spPr>
        <p:txBody>
          <a:bodyPr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7651" y="2072141"/>
            <a:ext cx="2035622" cy="391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650" y="928289"/>
            <a:ext cx="8132312" cy="112851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7192" b="1">
                <a:solidFill>
                  <a:schemeClr val="bg1"/>
                </a:solidFill>
              </a:defRPr>
            </a:lvl1pPr>
          </a:lstStyle>
          <a:p>
            <a:r>
              <a:rPr lang="de-DE"/>
              <a:t>Einzeilige Überschrift</a:t>
            </a:r>
          </a:p>
        </p:txBody>
      </p:sp>
    </p:spTree>
    <p:extLst>
      <p:ext uri="{BB962C8B-B14F-4D97-AF65-F5344CB8AC3E}">
        <p14:creationId xmlns:p14="http://schemas.microsoft.com/office/powerpoint/2010/main" val="73322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25270" y="2072141"/>
            <a:ext cx="2035622" cy="391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8579" y="928289"/>
            <a:ext cx="8132313" cy="112851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7192" b="1">
                <a:solidFill>
                  <a:schemeClr val="tx1"/>
                </a:solidFill>
              </a:defRPr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D9D174-3F23-4CB1-A939-0A39EEBF6BF0}"/>
              </a:ext>
            </a:extLst>
          </p:cNvPr>
          <p:cNvSpPr/>
          <p:nvPr userDrawn="1"/>
        </p:nvSpPr>
        <p:spPr>
          <a:xfrm>
            <a:off x="0" y="5847568"/>
            <a:ext cx="1136084" cy="10104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58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25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3FA93BF2-B11D-4FC5-9B10-8E083CAFCA12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04C55368-C9FF-4E80-A821-ECF4B91A34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21683" y="1937091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63" name="Textplatzhalter 4">
            <a:extLst>
              <a:ext uri="{FF2B5EF4-FFF2-40B4-BE49-F238E27FC236}">
                <a16:creationId xmlns:a16="http://schemas.microsoft.com/office/drawing/2014/main" id="{DCA1C46C-FE53-4CB5-983F-95043DD5C2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21683" y="2167567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4C56456F-A842-4673-B9B4-A420E7B2F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21683" y="2815050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70" name="Textplatzhalter 4">
            <a:extLst>
              <a:ext uri="{FF2B5EF4-FFF2-40B4-BE49-F238E27FC236}">
                <a16:creationId xmlns:a16="http://schemas.microsoft.com/office/drawing/2014/main" id="{F1B2E5D1-D0D9-4ECD-99C5-A6F97DD19A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683" y="3045527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71" name="Textplatzhalter 4">
            <a:extLst>
              <a:ext uri="{FF2B5EF4-FFF2-40B4-BE49-F238E27FC236}">
                <a16:creationId xmlns:a16="http://schemas.microsoft.com/office/drawing/2014/main" id="{1108200B-3F4B-4770-9A39-BF274C511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21683" y="3709754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72" name="Textplatzhalter 4">
            <a:extLst>
              <a:ext uri="{FF2B5EF4-FFF2-40B4-BE49-F238E27FC236}">
                <a16:creationId xmlns:a16="http://schemas.microsoft.com/office/drawing/2014/main" id="{CFEC609D-F72F-4C73-9E59-1A7B68E841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21683" y="3940231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8EE6C1EE-F60F-40FA-B72A-6452AA8D4D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21683" y="4576135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F573C38E-34E1-4D8A-9905-A27FACF947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21683" y="4806611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CCD3883-268D-404C-86CD-292C9ED11E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8759" y="1862294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BB0FBF2-FB7B-CC4E-9868-95DCE0EE1D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48759" y="2746908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886CE867-369D-594A-99DA-520254F255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48759" y="3631192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B0319E20-2D18-3C4F-B52B-64CF2E678E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48759" y="4504843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CA541BC4-1640-48BE-BCDB-2C9179F6A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4 Angaben)</a:t>
            </a: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09492F50-300F-4A13-80F4-927498968A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30733" y="1016000"/>
            <a:ext cx="6761267" cy="4832349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45597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3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1E149EB0-6633-EC48-8ACA-3E18C57410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49489" y="2298135"/>
            <a:ext cx="4446950" cy="157647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6401 h 1182357"/>
              <a:gd name="connsiteX1" fmla="*/ 3335212 w 3916237"/>
              <a:gd name="connsiteY1" fmla="*/ 0 h 1182357"/>
              <a:gd name="connsiteX2" fmla="*/ 3916237 w 3916237"/>
              <a:gd name="connsiteY2" fmla="*/ 1182357 h 1182357"/>
              <a:gd name="connsiteX3" fmla="*/ 569704 w 3916237"/>
              <a:gd name="connsiteY3" fmla="*/ 1182357 h 1182357"/>
              <a:gd name="connsiteX4" fmla="*/ 0 w 3916237"/>
              <a:gd name="connsiteY4" fmla="*/ 6401 h 1182357"/>
              <a:gd name="connsiteX0" fmla="*/ 0 w 3335212"/>
              <a:gd name="connsiteY0" fmla="*/ 6401 h 1182357"/>
              <a:gd name="connsiteX1" fmla="*/ 3335212 w 3335212"/>
              <a:gd name="connsiteY1" fmla="*/ 0 h 1182357"/>
              <a:gd name="connsiteX2" fmla="*/ 3328862 w 3335212"/>
              <a:gd name="connsiteY2" fmla="*/ 1182357 h 1182357"/>
              <a:gd name="connsiteX3" fmla="*/ 569704 w 3335212"/>
              <a:gd name="connsiteY3" fmla="*/ 1182357 h 1182357"/>
              <a:gd name="connsiteX4" fmla="*/ 0 w 3335212"/>
              <a:gd name="connsiteY4" fmla="*/ 6401 h 1182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5212" h="1182357">
                <a:moveTo>
                  <a:pt x="0" y="6401"/>
                </a:moveTo>
                <a:lnTo>
                  <a:pt x="3335212" y="0"/>
                </a:lnTo>
                <a:cubicBezTo>
                  <a:pt x="3333095" y="394119"/>
                  <a:pt x="3330979" y="788238"/>
                  <a:pt x="3328862" y="1182357"/>
                </a:cubicBezTo>
                <a:lnTo>
                  <a:pt x="569704" y="1182357"/>
                </a:lnTo>
                <a:lnTo>
                  <a:pt x="0" y="640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8E38B91A-AA43-3648-99A7-462F23082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47396" y="3940713"/>
            <a:ext cx="3655315" cy="1568009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51 h 1176007"/>
              <a:gd name="connsiteX1" fmla="*/ 2741487 w 3916237"/>
              <a:gd name="connsiteY1" fmla="*/ 0 h 1176007"/>
              <a:gd name="connsiteX2" fmla="*/ 3916237 w 3916237"/>
              <a:gd name="connsiteY2" fmla="*/ 1176007 h 1176007"/>
              <a:gd name="connsiteX3" fmla="*/ 569704 w 3916237"/>
              <a:gd name="connsiteY3" fmla="*/ 1176007 h 1176007"/>
              <a:gd name="connsiteX4" fmla="*/ 0 w 3916237"/>
              <a:gd name="connsiteY4" fmla="*/ 51 h 1176007"/>
              <a:gd name="connsiteX0" fmla="*/ 0 w 2741487"/>
              <a:gd name="connsiteY0" fmla="*/ 51 h 1176007"/>
              <a:gd name="connsiteX1" fmla="*/ 2741487 w 2741487"/>
              <a:gd name="connsiteY1" fmla="*/ 0 h 1176007"/>
              <a:gd name="connsiteX2" fmla="*/ 2738312 w 2741487"/>
              <a:gd name="connsiteY2" fmla="*/ 1176007 h 1176007"/>
              <a:gd name="connsiteX3" fmla="*/ 569704 w 2741487"/>
              <a:gd name="connsiteY3" fmla="*/ 1176007 h 1176007"/>
              <a:gd name="connsiteX4" fmla="*/ 0 w 2741487"/>
              <a:gd name="connsiteY4" fmla="*/ 51 h 1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1487" h="1176007">
                <a:moveTo>
                  <a:pt x="0" y="51"/>
                </a:moveTo>
                <a:lnTo>
                  <a:pt x="2741487" y="0"/>
                </a:lnTo>
                <a:cubicBezTo>
                  <a:pt x="2740429" y="392002"/>
                  <a:pt x="2739370" y="784005"/>
                  <a:pt x="2738312" y="1176007"/>
                </a:cubicBezTo>
                <a:lnTo>
                  <a:pt x="569704" y="1176007"/>
                </a:lnTo>
                <a:lnTo>
                  <a:pt x="0" y="5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3E47CD0-14B1-6B48-BD37-D5E31D1E7C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7494480" y="2776731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E7FAE09-2E51-9540-9D0C-651412FE99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8293504" y="442988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918EBE0-C521-FC4F-9CC7-C3BC26377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7967" y="659792"/>
            <a:ext cx="5221649" cy="1580709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85532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569704" y="1185532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0A5938DA-AB2D-B641-9609-172C5D5F7A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flipH="1">
            <a:off x="6716122" y="1130467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F5929F82-2F3E-45AC-87CB-3DFE73C8D8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56310" y="1454475"/>
            <a:ext cx="376362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EB501B8-615F-F843-B54D-9920EC14A2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47833" y="3088586"/>
            <a:ext cx="376362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C3E9233D-477A-FF44-B2A2-A256EB6A6F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45738" y="4722697"/>
            <a:ext cx="376362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3344693-5232-46BB-A228-6965BF2E8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7" y="317115"/>
            <a:ext cx="1145190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3 Angaben)</a:t>
            </a:r>
          </a:p>
        </p:txBody>
      </p:sp>
    </p:spTree>
    <p:extLst>
      <p:ext uri="{BB962C8B-B14F-4D97-AF65-F5344CB8AC3E}">
        <p14:creationId xmlns:p14="http://schemas.microsoft.com/office/powerpoint/2010/main" val="175516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257BECE9-2212-AD4C-9DDC-270418BA64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75968" y="1870100"/>
            <a:ext cx="4620923" cy="1170142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465387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465387"/>
              <a:gd name="connsiteY0" fmla="*/ 5271 h 1185835"/>
              <a:gd name="connsiteX1" fmla="*/ 3465387 w 3465387"/>
              <a:gd name="connsiteY1" fmla="*/ 0 h 1185835"/>
              <a:gd name="connsiteX2" fmla="*/ 3462212 w 3465387"/>
              <a:gd name="connsiteY2" fmla="*/ 1181227 h 1185835"/>
              <a:gd name="connsiteX3" fmla="*/ 416738 w 3465387"/>
              <a:gd name="connsiteY3" fmla="*/ 1185835 h 1185835"/>
              <a:gd name="connsiteX4" fmla="*/ 0 w 3465387"/>
              <a:gd name="connsiteY4" fmla="*/ 5271 h 1185835"/>
              <a:gd name="connsiteX0" fmla="*/ 0 w 3465692"/>
              <a:gd name="connsiteY0" fmla="*/ 5271 h 1189836"/>
              <a:gd name="connsiteX1" fmla="*/ 3465387 w 3465692"/>
              <a:gd name="connsiteY1" fmla="*/ 0 h 1189836"/>
              <a:gd name="connsiteX2" fmla="*/ 3465387 w 3465692"/>
              <a:gd name="connsiteY2" fmla="*/ 1189836 h 1189836"/>
              <a:gd name="connsiteX3" fmla="*/ 416738 w 3465692"/>
              <a:gd name="connsiteY3" fmla="*/ 1185835 h 1189836"/>
              <a:gd name="connsiteX4" fmla="*/ 0 w 3465692"/>
              <a:gd name="connsiteY4" fmla="*/ 5271 h 1189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5692" h="1189836">
                <a:moveTo>
                  <a:pt x="0" y="5271"/>
                </a:moveTo>
                <a:lnTo>
                  <a:pt x="3465387" y="0"/>
                </a:lnTo>
                <a:cubicBezTo>
                  <a:pt x="3464329" y="393742"/>
                  <a:pt x="3466445" y="796094"/>
                  <a:pt x="3465387" y="1189836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58B2995E-B67E-8C40-8046-5108E851D4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57676" y="3113205"/>
            <a:ext cx="4040549" cy="1166208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030412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030412"/>
              <a:gd name="connsiteY0" fmla="*/ 5271 h 1185835"/>
              <a:gd name="connsiteX1" fmla="*/ 3030412 w 3030412"/>
              <a:gd name="connsiteY1" fmla="*/ 0 h 1185835"/>
              <a:gd name="connsiteX2" fmla="*/ 3027237 w 3030412"/>
              <a:gd name="connsiteY2" fmla="*/ 1181227 h 1185835"/>
              <a:gd name="connsiteX3" fmla="*/ 416738 w 3030412"/>
              <a:gd name="connsiteY3" fmla="*/ 1185835 h 1185835"/>
              <a:gd name="connsiteX4" fmla="*/ 0 w 3030412"/>
              <a:gd name="connsiteY4" fmla="*/ 5271 h 1185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412" h="1185835">
                <a:moveTo>
                  <a:pt x="0" y="5271"/>
                </a:moveTo>
                <a:lnTo>
                  <a:pt x="3030412" y="0"/>
                </a:lnTo>
                <a:cubicBezTo>
                  <a:pt x="3029354" y="393742"/>
                  <a:pt x="3028295" y="787485"/>
                  <a:pt x="3027237" y="1181227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33B1F6F3-7175-2448-BFBB-584C7140D9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9385" y="4344607"/>
            <a:ext cx="3456350" cy="1161975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67 h 1181531"/>
              <a:gd name="connsiteX1" fmla="*/ 2589087 w 3916237"/>
              <a:gd name="connsiteY1" fmla="*/ 0 h 1181531"/>
              <a:gd name="connsiteX2" fmla="*/ 3916237 w 3916237"/>
              <a:gd name="connsiteY2" fmla="*/ 1176923 h 1181531"/>
              <a:gd name="connsiteX3" fmla="*/ 416738 w 3916237"/>
              <a:gd name="connsiteY3" fmla="*/ 1181531 h 1181531"/>
              <a:gd name="connsiteX4" fmla="*/ 0 w 3916237"/>
              <a:gd name="connsiteY4" fmla="*/ 967 h 1181531"/>
              <a:gd name="connsiteX0" fmla="*/ 0 w 2592262"/>
              <a:gd name="connsiteY0" fmla="*/ 967 h 1181531"/>
              <a:gd name="connsiteX1" fmla="*/ 2589087 w 2592262"/>
              <a:gd name="connsiteY1" fmla="*/ 0 h 1181531"/>
              <a:gd name="connsiteX2" fmla="*/ 2592262 w 2592262"/>
              <a:gd name="connsiteY2" fmla="*/ 1181227 h 1181531"/>
              <a:gd name="connsiteX3" fmla="*/ 416738 w 2592262"/>
              <a:gd name="connsiteY3" fmla="*/ 1181531 h 1181531"/>
              <a:gd name="connsiteX4" fmla="*/ 0 w 2592262"/>
              <a:gd name="connsiteY4" fmla="*/ 967 h 1181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2262" h="1181531">
                <a:moveTo>
                  <a:pt x="0" y="967"/>
                </a:moveTo>
                <a:lnTo>
                  <a:pt x="2589087" y="0"/>
                </a:lnTo>
                <a:cubicBezTo>
                  <a:pt x="2590145" y="393742"/>
                  <a:pt x="2591204" y="787485"/>
                  <a:pt x="2592262" y="1181227"/>
                </a:cubicBezTo>
                <a:lnTo>
                  <a:pt x="416738" y="1181531"/>
                </a:lnTo>
                <a:lnTo>
                  <a:pt x="0" y="967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55" name="Textplatzhalter 4">
            <a:extLst>
              <a:ext uri="{FF2B5EF4-FFF2-40B4-BE49-F238E27FC236}">
                <a16:creationId xmlns:a16="http://schemas.microsoft.com/office/drawing/2014/main" id="{B063F175-38CC-42F7-811C-7040E4C21B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33051" y="2466921"/>
            <a:ext cx="3275833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57" name="Textplatzhalter 4">
            <a:extLst>
              <a:ext uri="{FF2B5EF4-FFF2-40B4-BE49-F238E27FC236}">
                <a16:creationId xmlns:a16="http://schemas.microsoft.com/office/drawing/2014/main" id="{40527846-F98C-46C5-8E25-D69AD643D1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1098" y="3695301"/>
            <a:ext cx="2677787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59" name="Textplatzhalter 4">
            <a:extLst>
              <a:ext uri="{FF2B5EF4-FFF2-40B4-BE49-F238E27FC236}">
                <a16:creationId xmlns:a16="http://schemas.microsoft.com/office/drawing/2014/main" id="{06586DCE-E9D8-49C0-ADC2-CF17B03A5E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5387" y="4927344"/>
            <a:ext cx="2093497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B975105-8E39-6F40-9E65-900B15813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7215518" y="2162600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B272CA78-13D4-3E44-B0ED-ADF0A45666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70352" y="646665"/>
            <a:ext cx="5221649" cy="1170442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416738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5DEBB228-DA77-344D-A819-40450ED2B5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7793925" y="3369872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A6868CB-9C37-7647-BD03-F48D0DBABD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8386305" y="4623514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006E3972-7262-4D2F-A0D2-E9CC9FDA21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38770" y="1217839"/>
            <a:ext cx="3870113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1D705AF0-DCB7-2D4F-B2F8-2854F8E21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6602660" y="910106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D692422-F2F5-42E1-BB8D-97303CC546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40857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4 Angaben)</a:t>
            </a:r>
          </a:p>
        </p:txBody>
      </p:sp>
    </p:spTree>
    <p:extLst>
      <p:ext uri="{BB962C8B-B14F-4D97-AF65-F5344CB8AC3E}">
        <p14:creationId xmlns:p14="http://schemas.microsoft.com/office/powerpoint/2010/main" val="289316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14413-82C1-4EBC-8C6B-BC5F842D1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365125"/>
            <a:ext cx="10543032" cy="132556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F029A-192E-4A44-ACC7-6C5212C77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5" y="1825625"/>
            <a:ext cx="10543031" cy="4206383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D1A7D4-E57E-4789-896B-B2A051BF94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624" y="6217920"/>
            <a:ext cx="2743200" cy="6400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33DE70B-B772-416E-A790-995760B1742E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7B63EE-3B35-4F8A-BDA3-E778BFE14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339EF2-7937-4C30-A883-7F7BD0280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08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5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B3E3F257-2EA8-C448-A839-BF9311D7BF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63263" y="1649891"/>
            <a:ext cx="4740153" cy="91535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3555115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3555115"/>
              <a:gd name="connsiteY0" fmla="*/ 3855 h 1185533"/>
              <a:gd name="connsiteX1" fmla="*/ 3555115 w 3555115"/>
              <a:gd name="connsiteY1" fmla="*/ 0 h 1185533"/>
              <a:gd name="connsiteX2" fmla="*/ 3555115 w 3555115"/>
              <a:gd name="connsiteY2" fmla="*/ 1185533 h 1185533"/>
              <a:gd name="connsiteX3" fmla="*/ 318313 w 3555115"/>
              <a:gd name="connsiteY3" fmla="*/ 1184419 h 1185533"/>
              <a:gd name="connsiteX4" fmla="*/ 0 w 3555115"/>
              <a:gd name="connsiteY4" fmla="*/ 3855 h 118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5115" h="1185533">
                <a:moveTo>
                  <a:pt x="0" y="3855"/>
                </a:moveTo>
                <a:lnTo>
                  <a:pt x="3555115" y="0"/>
                </a:lnTo>
                <a:lnTo>
                  <a:pt x="3555115" y="1185533"/>
                </a:ln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E313362-BA83-6D46-A39B-E7A88FBDCD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28484" y="2632239"/>
            <a:ext cx="4285163" cy="914495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3 h 1184417"/>
              <a:gd name="connsiteX1" fmla="*/ 3213872 w 3916237"/>
              <a:gd name="connsiteY1" fmla="*/ 0 h 1184417"/>
              <a:gd name="connsiteX2" fmla="*/ 3916237 w 3916237"/>
              <a:gd name="connsiteY2" fmla="*/ 1179809 h 1184417"/>
              <a:gd name="connsiteX3" fmla="*/ 318313 w 3916237"/>
              <a:gd name="connsiteY3" fmla="*/ 1184417 h 1184417"/>
              <a:gd name="connsiteX4" fmla="*/ 0 w 3916237"/>
              <a:gd name="connsiteY4" fmla="*/ 3853 h 1184417"/>
              <a:gd name="connsiteX0" fmla="*/ 0 w 3213872"/>
              <a:gd name="connsiteY0" fmla="*/ 3853 h 1184417"/>
              <a:gd name="connsiteX1" fmla="*/ 3213872 w 3213872"/>
              <a:gd name="connsiteY1" fmla="*/ 0 h 1184417"/>
              <a:gd name="connsiteX2" fmla="*/ 3207246 w 3213872"/>
              <a:gd name="connsiteY2" fmla="*/ 1179810 h 1184417"/>
              <a:gd name="connsiteX3" fmla="*/ 318313 w 3213872"/>
              <a:gd name="connsiteY3" fmla="*/ 1184417 h 1184417"/>
              <a:gd name="connsiteX4" fmla="*/ 0 w 3213872"/>
              <a:gd name="connsiteY4" fmla="*/ 3853 h 1184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3872" h="1184417">
                <a:moveTo>
                  <a:pt x="0" y="3853"/>
                </a:moveTo>
                <a:lnTo>
                  <a:pt x="3213872" y="0"/>
                </a:lnTo>
                <a:cubicBezTo>
                  <a:pt x="3211663" y="393270"/>
                  <a:pt x="3209455" y="786540"/>
                  <a:pt x="3207246" y="1179810"/>
                </a:cubicBezTo>
                <a:lnTo>
                  <a:pt x="318313" y="1184417"/>
                </a:lnTo>
                <a:lnTo>
                  <a:pt x="0" y="3853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D19C2651-89E3-6440-9699-C1764DE7C7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01725" y="3613726"/>
            <a:ext cx="3808084" cy="91449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856063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856063"/>
              <a:gd name="connsiteY0" fmla="*/ 3855 h 1184419"/>
              <a:gd name="connsiteX1" fmla="*/ 2856063 w 2856063"/>
              <a:gd name="connsiteY1" fmla="*/ 0 h 1184419"/>
              <a:gd name="connsiteX2" fmla="*/ 2849437 w 2856063"/>
              <a:gd name="connsiteY2" fmla="*/ 1179812 h 1184419"/>
              <a:gd name="connsiteX3" fmla="*/ 318313 w 2856063"/>
              <a:gd name="connsiteY3" fmla="*/ 1184419 h 1184419"/>
              <a:gd name="connsiteX4" fmla="*/ 0 w 2856063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6063" h="1184419">
                <a:moveTo>
                  <a:pt x="0" y="3855"/>
                </a:moveTo>
                <a:lnTo>
                  <a:pt x="2856063" y="0"/>
                </a:lnTo>
                <a:cubicBezTo>
                  <a:pt x="2853854" y="393271"/>
                  <a:pt x="2851646" y="786541"/>
                  <a:pt x="2849437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48A88F9C-03FE-F54F-94D0-1CDBAB5377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74967" y="4595215"/>
            <a:ext cx="3331005" cy="91449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498254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498254"/>
              <a:gd name="connsiteY0" fmla="*/ 3855 h 1184419"/>
              <a:gd name="connsiteX1" fmla="*/ 2498254 w 2498254"/>
              <a:gd name="connsiteY1" fmla="*/ 0 h 1184419"/>
              <a:gd name="connsiteX2" fmla="*/ 2494941 w 2498254"/>
              <a:gd name="connsiteY2" fmla="*/ 1179812 h 1184419"/>
              <a:gd name="connsiteX3" fmla="*/ 318313 w 2498254"/>
              <a:gd name="connsiteY3" fmla="*/ 1184419 h 1184419"/>
              <a:gd name="connsiteX4" fmla="*/ 0 w 2498254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254" h="1184419">
                <a:moveTo>
                  <a:pt x="0" y="3855"/>
                </a:moveTo>
                <a:lnTo>
                  <a:pt x="2498254" y="0"/>
                </a:lnTo>
                <a:cubicBezTo>
                  <a:pt x="2497150" y="393271"/>
                  <a:pt x="2496045" y="786541"/>
                  <a:pt x="2494941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74619461-DCE2-E04D-B213-E2C2057F35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76916" y="663986"/>
            <a:ext cx="5221649" cy="918913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318313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6AEF2793-1135-403E-AEF2-D90DD5856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37666" y="1120030"/>
            <a:ext cx="387778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8597FC3-952A-B54E-A1FD-86E19ACA24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6549130" y="82550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8FCC801-B420-1F43-82AF-DE532C2DA7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7042872" y="180259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EAFF4431-34B1-F448-9684-AD20DD037C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flipH="1">
            <a:off x="7505062" y="278947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9A14905C-BDDA-BB49-9EC4-96122F715A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flipH="1">
            <a:off x="7979290" y="3774111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2368D683-1F7A-6D49-B62C-ED5726BFCD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8461459" y="4759114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64" name="Textplatzhalter 4">
            <a:extLst>
              <a:ext uri="{FF2B5EF4-FFF2-40B4-BE49-F238E27FC236}">
                <a16:creationId xmlns:a16="http://schemas.microsoft.com/office/drawing/2014/main" id="{3636E4F0-72FA-4FE7-B519-DD15D6FE36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41378" y="5061928"/>
            <a:ext cx="1974070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62B35A94-04B8-44D6-A896-AB846A110C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65966" y="4081844"/>
            <a:ext cx="244948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60" name="Textplatzhalter 4">
            <a:extLst>
              <a:ext uri="{FF2B5EF4-FFF2-40B4-BE49-F238E27FC236}">
                <a16:creationId xmlns:a16="http://schemas.microsoft.com/office/drawing/2014/main" id="{577EC97F-9199-450F-B723-7DF7F6966C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89282" y="3090547"/>
            <a:ext cx="2926169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6A1EB573-FCA9-403D-A524-B4D70FA091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159" y="2115483"/>
            <a:ext cx="3391290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5CF8AA7-E869-419A-B46F-1E730BB57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7" y="317115"/>
            <a:ext cx="11447422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5 Angaben)</a:t>
            </a:r>
          </a:p>
        </p:txBody>
      </p:sp>
    </p:spTree>
    <p:extLst>
      <p:ext uri="{BB962C8B-B14F-4D97-AF65-F5344CB8AC3E}">
        <p14:creationId xmlns:p14="http://schemas.microsoft.com/office/powerpoint/2010/main" val="2077734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C2ED5B2-8DFC-4864-8442-56CA06BC5DA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26516A-14A4-46D3-A41A-CBB211073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6BE146A5-BAF4-4054-A6FC-9A94B206CF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6" y="1348031"/>
            <a:ext cx="10606868" cy="4158067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38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1438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13810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3-spaltig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684515A0-3ACC-4DA7-A19D-253E613CEB33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81C53425-D1A6-CE46-8218-C0A917931F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7" y="1351906"/>
            <a:ext cx="3308320" cy="41607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26477505-A953-B844-8FB2-CC7BD3DF14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08768" y="1351906"/>
            <a:ext cx="3301996" cy="41607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7ECD1E9-E7D9-9C40-AEAB-DADAC219A3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57997" y="1351906"/>
            <a:ext cx="3301996" cy="41607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E601254-2DA0-43E9-8C80-21125334B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8568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2/3) &amp; Bild (1/3)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3244A2E-D85A-40DD-98A7-1B8A6E09FC3C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B5A2B65-74F1-44AE-8E33-6265B32D3E0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52058" y="1013461"/>
            <a:ext cx="3639942" cy="483488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189A53-14DB-9241-B9EB-420EEED582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6" y="1351904"/>
            <a:ext cx="6958118" cy="416075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55FCE44-58E2-4CDF-AACD-0DA32797D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591404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9642DB76-9735-470F-ADCC-DDF4E2D6A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37086" y="1016000"/>
            <a:ext cx="6757779" cy="2992168"/>
          </a:xfrm>
          <a:custGeom>
            <a:avLst/>
            <a:gdLst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0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69298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71679 w 5063169"/>
              <a:gd name="connsiteY3" fmla="*/ 2241550 h 2241550"/>
              <a:gd name="connsiteX4" fmla="*/ 0 w 5063169"/>
              <a:gd name="connsiteY4" fmla="*/ 0 h 2241550"/>
              <a:gd name="connsiteX0" fmla="*/ 0 w 5072694"/>
              <a:gd name="connsiteY0" fmla="*/ 0 h 2241550"/>
              <a:gd name="connsiteX1" fmla="*/ 5063169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2694"/>
              <a:gd name="connsiteY0" fmla="*/ 0 h 2241550"/>
              <a:gd name="connsiteX1" fmla="*/ 5070313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1679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4255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9406 w 5073097"/>
              <a:gd name="connsiteY3" fmla="*/ 2244126 h 2244126"/>
              <a:gd name="connsiteX4" fmla="*/ 0 w 5073097"/>
              <a:gd name="connsiteY4" fmla="*/ 0 h 2244126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6831 w 5073097"/>
              <a:gd name="connsiteY3" fmla="*/ 2244126 h 2244126"/>
              <a:gd name="connsiteX4" fmla="*/ 0 w 5073097"/>
              <a:gd name="connsiteY4" fmla="*/ 0 h 2244126"/>
              <a:gd name="connsiteX0" fmla="*/ 0 w 5068334"/>
              <a:gd name="connsiteY0" fmla="*/ 0 h 2244126"/>
              <a:gd name="connsiteX1" fmla="*/ 5068126 w 5068334"/>
              <a:gd name="connsiteY1" fmla="*/ 0 h 2244126"/>
              <a:gd name="connsiteX2" fmla="*/ 5067931 w 5068334"/>
              <a:gd name="connsiteY2" fmla="*/ 2241550 h 2244126"/>
              <a:gd name="connsiteX3" fmla="*/ 1072068 w 5068334"/>
              <a:gd name="connsiteY3" fmla="*/ 2244126 h 2244126"/>
              <a:gd name="connsiteX4" fmla="*/ 0 w 5068334"/>
              <a:gd name="connsiteY4" fmla="*/ 0 h 2244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8334" h="2244126">
                <a:moveTo>
                  <a:pt x="0" y="0"/>
                </a:moveTo>
                <a:lnTo>
                  <a:pt x="5068126" y="0"/>
                </a:lnTo>
                <a:cubicBezTo>
                  <a:pt x="5068920" y="747183"/>
                  <a:pt x="5067137" y="1494367"/>
                  <a:pt x="5067931" y="2241550"/>
                </a:cubicBezTo>
                <a:lnTo>
                  <a:pt x="1072068" y="224412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Parallelogramm 20">
            <a:extLst>
              <a:ext uri="{FF2B5EF4-FFF2-40B4-BE49-F238E27FC236}">
                <a16:creationId xmlns:a16="http://schemas.microsoft.com/office/drawing/2014/main" id="{D83CB403-1553-478D-B0B0-B83B50C255D1}"/>
              </a:ext>
            </a:extLst>
          </p:cNvPr>
          <p:cNvSpPr/>
          <p:nvPr userDrawn="1"/>
        </p:nvSpPr>
        <p:spPr>
          <a:xfrm flipH="1">
            <a:off x="6863273" y="4001190"/>
            <a:ext cx="5330674" cy="1847155"/>
          </a:xfrm>
          <a:custGeom>
            <a:avLst/>
            <a:gdLst>
              <a:gd name="connsiteX0" fmla="*/ 0 w 3996545"/>
              <a:gd name="connsiteY0" fmla="*/ 1382714 h 1382714"/>
              <a:gd name="connsiteX1" fmla="*/ 660605 w 3996545"/>
              <a:gd name="connsiteY1" fmla="*/ 0 h 1382714"/>
              <a:gd name="connsiteX2" fmla="*/ 3996545 w 3996545"/>
              <a:gd name="connsiteY2" fmla="*/ 0 h 1382714"/>
              <a:gd name="connsiteX3" fmla="*/ 3335940 w 3996545"/>
              <a:gd name="connsiteY3" fmla="*/ 1382714 h 1382714"/>
              <a:gd name="connsiteX4" fmla="*/ 0 w 399654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7 h 1385367"/>
              <a:gd name="connsiteX1" fmla="*/ 0 w 3998005"/>
              <a:gd name="connsiteY1" fmla="*/ 0 h 1385367"/>
              <a:gd name="connsiteX2" fmla="*/ 3998005 w 3998005"/>
              <a:gd name="connsiteY2" fmla="*/ 2653 h 1385367"/>
              <a:gd name="connsiteX3" fmla="*/ 3337400 w 3998005"/>
              <a:gd name="connsiteY3" fmla="*/ 1385367 h 1385367"/>
              <a:gd name="connsiteX4" fmla="*/ 1460 w 3998005"/>
              <a:gd name="connsiteY4" fmla="*/ 1385367 h 1385367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6 h 1385366"/>
              <a:gd name="connsiteX1" fmla="*/ 0 w 3998005"/>
              <a:gd name="connsiteY1" fmla="*/ 0 h 1385366"/>
              <a:gd name="connsiteX2" fmla="*/ 3998005 w 3998005"/>
              <a:gd name="connsiteY2" fmla="*/ 2652 h 1385366"/>
              <a:gd name="connsiteX3" fmla="*/ 3337400 w 3998005"/>
              <a:gd name="connsiteY3" fmla="*/ 1385366 h 1385366"/>
              <a:gd name="connsiteX4" fmla="*/ 1460 w 3998005"/>
              <a:gd name="connsiteY4" fmla="*/ 1385366 h 1385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98005" h="1385366">
                <a:moveTo>
                  <a:pt x="1460" y="1385366"/>
                </a:moveTo>
                <a:cubicBezTo>
                  <a:pt x="973" y="925294"/>
                  <a:pt x="487" y="460072"/>
                  <a:pt x="0" y="0"/>
                </a:cubicBezTo>
                <a:lnTo>
                  <a:pt x="3998005" y="2652"/>
                </a:lnTo>
                <a:lnTo>
                  <a:pt x="3337400" y="1385366"/>
                </a:lnTo>
                <a:lnTo>
                  <a:pt x="1460" y="138536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E2B3A810-C844-4418-AF20-CD01E7DF013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5" y="1016001"/>
            <a:ext cx="5868174" cy="2988733"/>
          </a:xfrm>
          <a:custGeom>
            <a:avLst/>
            <a:gdLst>
              <a:gd name="connsiteX0" fmla="*/ 0 w 4401131"/>
              <a:gd name="connsiteY0" fmla="*/ 0 h 2241550"/>
              <a:gd name="connsiteX1" fmla="*/ 4401131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  <a:gd name="connsiteX0" fmla="*/ 0 w 4401131"/>
              <a:gd name="connsiteY0" fmla="*/ 0 h 2241550"/>
              <a:gd name="connsiteX1" fmla="*/ 3334775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1131" h="2241550">
                <a:moveTo>
                  <a:pt x="0" y="0"/>
                </a:moveTo>
                <a:lnTo>
                  <a:pt x="3334775" y="0"/>
                </a:lnTo>
                <a:lnTo>
                  <a:pt x="4401131" y="2241550"/>
                </a:lnTo>
                <a:lnTo>
                  <a:pt x="0" y="224155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Parallelogramm 19">
            <a:extLst>
              <a:ext uri="{FF2B5EF4-FFF2-40B4-BE49-F238E27FC236}">
                <a16:creationId xmlns:a16="http://schemas.microsoft.com/office/drawing/2014/main" id="{05F37096-C0B7-49A6-9DDE-C38BDC558E57}"/>
              </a:ext>
            </a:extLst>
          </p:cNvPr>
          <p:cNvSpPr/>
          <p:nvPr userDrawn="1"/>
        </p:nvSpPr>
        <p:spPr>
          <a:xfrm flipH="1">
            <a:off x="918634" y="4004733"/>
            <a:ext cx="6753213" cy="1843618"/>
          </a:xfrm>
          <a:custGeom>
            <a:avLst/>
            <a:gdLst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4409067 w 5069672"/>
              <a:gd name="connsiteY3" fmla="*/ 1382713 h 1382713"/>
              <a:gd name="connsiteX4" fmla="*/ 0 w 5069672"/>
              <a:gd name="connsiteY4" fmla="*/ 1382713 h 1382713"/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5063911 w 5069672"/>
              <a:gd name="connsiteY3" fmla="*/ 1380332 h 1382713"/>
              <a:gd name="connsiteX4" fmla="*/ 0 w 5069672"/>
              <a:gd name="connsiteY4" fmla="*/ 1382713 h 1382713"/>
              <a:gd name="connsiteX0" fmla="*/ 0 w 5064910"/>
              <a:gd name="connsiteY0" fmla="*/ 1382713 h 1382713"/>
              <a:gd name="connsiteX1" fmla="*/ 660605 w 5064910"/>
              <a:gd name="connsiteY1" fmla="*/ 0 h 1382713"/>
              <a:gd name="connsiteX2" fmla="*/ 5064910 w 5064910"/>
              <a:gd name="connsiteY2" fmla="*/ 0 h 1382713"/>
              <a:gd name="connsiteX3" fmla="*/ 5063911 w 5064910"/>
              <a:gd name="connsiteY3" fmla="*/ 1380332 h 1382713"/>
              <a:gd name="connsiteX4" fmla="*/ 0 w 5064910"/>
              <a:gd name="connsiteY4" fmla="*/ 1382713 h 138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4910" h="1382713">
                <a:moveTo>
                  <a:pt x="0" y="1382713"/>
                </a:moveTo>
                <a:lnTo>
                  <a:pt x="660605" y="0"/>
                </a:lnTo>
                <a:lnTo>
                  <a:pt x="5064910" y="0"/>
                </a:lnTo>
                <a:cubicBezTo>
                  <a:pt x="5062990" y="460111"/>
                  <a:pt x="5065831" y="920221"/>
                  <a:pt x="5063911" y="1380332"/>
                </a:cubicBezTo>
                <a:lnTo>
                  <a:pt x="0" y="138271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FBCD15C0-0903-4F0D-B02A-624F6D64B5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52053" y="4370717"/>
            <a:ext cx="5474765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3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1" name="Textplatzhalter 26">
            <a:extLst>
              <a:ext uri="{FF2B5EF4-FFF2-40B4-BE49-F238E27FC236}">
                <a16:creationId xmlns:a16="http://schemas.microsoft.com/office/drawing/2014/main" id="{EBB16E9B-0BFA-4147-BF9B-1621103B63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83577" y="4370717"/>
            <a:ext cx="4262888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3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CF1CE939-EDBF-4C40-819A-43D37F2B5C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52055" y="4681354"/>
            <a:ext cx="5474763" cy="831306"/>
          </a:xfrm>
          <a:prstGeom prst="rect">
            <a:avLst/>
          </a:prstGeom>
        </p:spPr>
        <p:txBody>
          <a:bodyPr lIns="0" tIns="0" rIns="0" bIns="0"/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0" name="Textplatzhalter 35">
            <a:extLst>
              <a:ext uri="{FF2B5EF4-FFF2-40B4-BE49-F238E27FC236}">
                <a16:creationId xmlns:a16="http://schemas.microsoft.com/office/drawing/2014/main" id="{CEBC62FB-9854-48A6-A95F-B64B2E209F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35637" y="4681354"/>
            <a:ext cx="4119080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35">
            <a:extLst>
              <a:ext uri="{FF2B5EF4-FFF2-40B4-BE49-F238E27FC236}">
                <a16:creationId xmlns:a16="http://schemas.microsoft.com/office/drawing/2014/main" id="{7F10253B-7E90-4D23-B119-099955D9B9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63387" y="4995408"/>
            <a:ext cx="3989893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35">
            <a:extLst>
              <a:ext uri="{FF2B5EF4-FFF2-40B4-BE49-F238E27FC236}">
                <a16:creationId xmlns:a16="http://schemas.microsoft.com/office/drawing/2014/main" id="{94C82AD6-A493-4748-9178-9562D5DD6F1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30910" y="5299340"/>
            <a:ext cx="3820485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9A72B995-0D23-455A-8266-D696BCC16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57199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4">
          <p15:clr>
            <a:srgbClr val="FBAE40"/>
          </p15:clr>
        </p15:guide>
        <p15:guide id="2" orient="horz" pos="229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858280BA-5DAF-4239-8C96-0E00F2969D39}"/>
              </a:ext>
            </a:extLst>
          </p:cNvPr>
          <p:cNvSpPr/>
          <p:nvPr userDrawn="1"/>
        </p:nvSpPr>
        <p:spPr>
          <a:xfrm>
            <a:off x="2734734" y="1009649"/>
            <a:ext cx="3750412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7" name="Textplatzhalter 26">
            <a:extLst>
              <a:ext uri="{FF2B5EF4-FFF2-40B4-BE49-F238E27FC236}">
                <a16:creationId xmlns:a16="http://schemas.microsoft.com/office/drawing/2014/main" id="{5320B77E-2B58-4BE6-82A4-68EE846607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0445" y="1725668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CE06CBF7-8546-4EEE-A38E-7DF26CFD9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80443" y="2097885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C9D460D-EDA8-483E-B4D3-69922B442037}"/>
              </a:ext>
            </a:extLst>
          </p:cNvPr>
          <p:cNvSpPr/>
          <p:nvPr userDrawn="1"/>
        </p:nvSpPr>
        <p:spPr>
          <a:xfrm>
            <a:off x="2734734" y="3500352"/>
            <a:ext cx="3750412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2286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3" name="Textplatzhalter 26">
            <a:extLst>
              <a:ext uri="{FF2B5EF4-FFF2-40B4-BE49-F238E27FC236}">
                <a16:creationId xmlns:a16="http://schemas.microsoft.com/office/drawing/2014/main" id="{0B884043-C75F-4A8E-831F-57A0E1E33C9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80445" y="421637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11F960EE-CCBB-4852-9A1B-24F0556CA4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80443" y="4588589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924E695-160F-425A-9C69-6AFF9551679F}"/>
              </a:ext>
            </a:extLst>
          </p:cNvPr>
          <p:cNvSpPr/>
          <p:nvPr userDrawn="1"/>
        </p:nvSpPr>
        <p:spPr>
          <a:xfrm>
            <a:off x="8445500" y="1009649"/>
            <a:ext cx="3746500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3052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9" name="Textplatzhalter 26">
            <a:extLst>
              <a:ext uri="{FF2B5EF4-FFF2-40B4-BE49-F238E27FC236}">
                <a16:creationId xmlns:a16="http://schemas.microsoft.com/office/drawing/2014/main" id="{D2F29D40-13C9-41FB-AFFA-85491C009E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98985" y="1725668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60" name="Textplatzhalter 35">
            <a:extLst>
              <a:ext uri="{FF2B5EF4-FFF2-40B4-BE49-F238E27FC236}">
                <a16:creationId xmlns:a16="http://schemas.microsoft.com/office/drawing/2014/main" id="{E677340F-EF6D-40A1-B272-E825C63153B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98984" y="2097885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1316428-BBAD-4650-8430-0B440D1391C9}"/>
              </a:ext>
            </a:extLst>
          </p:cNvPr>
          <p:cNvSpPr/>
          <p:nvPr userDrawn="1"/>
        </p:nvSpPr>
        <p:spPr>
          <a:xfrm>
            <a:off x="8445500" y="3500352"/>
            <a:ext cx="3746500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623052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3" name="Textplatzhalter 26">
            <a:extLst>
              <a:ext uri="{FF2B5EF4-FFF2-40B4-BE49-F238E27FC236}">
                <a16:creationId xmlns:a16="http://schemas.microsoft.com/office/drawing/2014/main" id="{088108A6-84F7-4B20-914D-18C953F46B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98985" y="421637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64" name="Textplatzhalter 35">
            <a:extLst>
              <a:ext uri="{FF2B5EF4-FFF2-40B4-BE49-F238E27FC236}">
                <a16:creationId xmlns:a16="http://schemas.microsoft.com/office/drawing/2014/main" id="{C9B1DB20-4664-456E-8599-00A1A0D8E3A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98984" y="4588589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50969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F4AA879E-CD1B-4468-A60F-22BD5B2EE865}"/>
              </a:ext>
            </a:extLst>
          </p:cNvPr>
          <p:cNvSpPr/>
          <p:nvPr userDrawn="1"/>
        </p:nvSpPr>
        <p:spPr>
          <a:xfrm>
            <a:off x="2734734" y="1009650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5265D3A-CBD7-405C-A37D-5E66050AB1EF}"/>
              </a:ext>
            </a:extLst>
          </p:cNvPr>
          <p:cNvSpPr/>
          <p:nvPr userDrawn="1"/>
        </p:nvSpPr>
        <p:spPr>
          <a:xfrm>
            <a:off x="2734734" y="2669425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E9C4F868-3250-4423-8B9E-5F8B50631071}"/>
              </a:ext>
            </a:extLst>
          </p:cNvPr>
          <p:cNvSpPr/>
          <p:nvPr userDrawn="1"/>
        </p:nvSpPr>
        <p:spPr>
          <a:xfrm>
            <a:off x="2734734" y="4328418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8CB0365-18B1-40F2-A76D-29F0015D251A}"/>
              </a:ext>
            </a:extLst>
          </p:cNvPr>
          <p:cNvSpPr/>
          <p:nvPr userDrawn="1"/>
        </p:nvSpPr>
        <p:spPr>
          <a:xfrm>
            <a:off x="8435879" y="1009650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AE5BEFE-9AF2-450E-8E6E-510CB2A6EE65}"/>
              </a:ext>
            </a:extLst>
          </p:cNvPr>
          <p:cNvSpPr/>
          <p:nvPr userDrawn="1"/>
        </p:nvSpPr>
        <p:spPr>
          <a:xfrm>
            <a:off x="8435879" y="2669425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532714C-D0F4-4841-AA96-082F4443C357}"/>
              </a:ext>
            </a:extLst>
          </p:cNvPr>
          <p:cNvSpPr/>
          <p:nvPr userDrawn="1"/>
        </p:nvSpPr>
        <p:spPr>
          <a:xfrm>
            <a:off x="8435879" y="4328418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9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3052" y="1009649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07436F7D-C42A-4B42-889D-8F3CFB68223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2286" y="2669425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8" name="Bildplatzhalter 4">
            <a:extLst>
              <a:ext uri="{FF2B5EF4-FFF2-40B4-BE49-F238E27FC236}">
                <a16:creationId xmlns:a16="http://schemas.microsoft.com/office/drawing/2014/main" id="{28446AB4-B53E-430D-9190-48E2FB34F01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12286" y="4328418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3B14132C-77AE-4C9D-BAAD-5BB7940DBE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623052" y="2668643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0" name="Bildplatzhalter 4">
            <a:extLst>
              <a:ext uri="{FF2B5EF4-FFF2-40B4-BE49-F238E27FC236}">
                <a16:creationId xmlns:a16="http://schemas.microsoft.com/office/drawing/2014/main" id="{34B39398-958C-4AF2-A083-99F4F4C208C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623052" y="4328418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3" name="Textplatzhalter 26">
            <a:extLst>
              <a:ext uri="{FF2B5EF4-FFF2-40B4-BE49-F238E27FC236}">
                <a16:creationId xmlns:a16="http://schemas.microsoft.com/office/drawing/2014/main" id="{94AB9309-EAA5-49B4-B82F-1BD77C727A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0445" y="13649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DA8DC389-8A12-4DA3-8CAB-A4D198C79B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80443" y="1737204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7" name="Textplatzhalter 26">
            <a:extLst>
              <a:ext uri="{FF2B5EF4-FFF2-40B4-BE49-F238E27FC236}">
                <a16:creationId xmlns:a16="http://schemas.microsoft.com/office/drawing/2014/main" id="{816796D7-B715-4770-975E-8A696C5B7B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80445" y="302476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58" name="Textplatzhalter 35">
            <a:extLst>
              <a:ext uri="{FF2B5EF4-FFF2-40B4-BE49-F238E27FC236}">
                <a16:creationId xmlns:a16="http://schemas.microsoft.com/office/drawing/2014/main" id="{B7979116-26BA-485F-84A0-65C2388FA62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080443" y="3396978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7" name="Textplatzhalter 26">
            <a:extLst>
              <a:ext uri="{FF2B5EF4-FFF2-40B4-BE49-F238E27FC236}">
                <a16:creationId xmlns:a16="http://schemas.microsoft.com/office/drawing/2014/main" id="{C21D983A-0D4C-4D00-B111-735954A2961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080445" y="4683756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68" name="Textplatzhalter 35">
            <a:extLst>
              <a:ext uri="{FF2B5EF4-FFF2-40B4-BE49-F238E27FC236}">
                <a16:creationId xmlns:a16="http://schemas.microsoft.com/office/drawing/2014/main" id="{02B9B515-5674-4464-BA68-1229D9DDF1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080443" y="5055972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5" name="Textplatzhalter 26">
            <a:extLst>
              <a:ext uri="{FF2B5EF4-FFF2-40B4-BE49-F238E27FC236}">
                <a16:creationId xmlns:a16="http://schemas.microsoft.com/office/drawing/2014/main" id="{5830621B-BA92-4785-A83E-285D5C38D1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76861" y="13649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76" name="Textplatzhalter 35">
            <a:extLst>
              <a:ext uri="{FF2B5EF4-FFF2-40B4-BE49-F238E27FC236}">
                <a16:creationId xmlns:a16="http://schemas.microsoft.com/office/drawing/2014/main" id="{598166D4-495B-4114-91E9-3343EF5B392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776858" y="1737204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7" name="Textplatzhalter 26">
            <a:extLst>
              <a:ext uri="{FF2B5EF4-FFF2-40B4-BE49-F238E27FC236}">
                <a16:creationId xmlns:a16="http://schemas.microsoft.com/office/drawing/2014/main" id="{F428F419-263B-4872-892E-D6ECAF867C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76861" y="302476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78" name="Textplatzhalter 35">
            <a:extLst>
              <a:ext uri="{FF2B5EF4-FFF2-40B4-BE49-F238E27FC236}">
                <a16:creationId xmlns:a16="http://schemas.microsoft.com/office/drawing/2014/main" id="{C081683D-5F61-4838-9654-F36D733085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76858" y="3396978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9" name="Textplatzhalter 26">
            <a:extLst>
              <a:ext uri="{FF2B5EF4-FFF2-40B4-BE49-F238E27FC236}">
                <a16:creationId xmlns:a16="http://schemas.microsoft.com/office/drawing/2014/main" id="{C83575E6-3737-4178-8E0F-8084568DA77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776861" y="4683756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80" name="Textplatzhalter 35">
            <a:extLst>
              <a:ext uri="{FF2B5EF4-FFF2-40B4-BE49-F238E27FC236}">
                <a16:creationId xmlns:a16="http://schemas.microsoft.com/office/drawing/2014/main" id="{0AC2C41F-DE75-49A7-8D8E-14310ECE75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776858" y="5055972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5180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26E64995-10B5-442B-80F9-C43858D8CBD7}"/>
              </a:ext>
            </a:extLst>
          </p:cNvPr>
          <p:cNvSpPr/>
          <p:nvPr userDrawn="1"/>
        </p:nvSpPr>
        <p:spPr>
          <a:xfrm>
            <a:off x="2734734" y="100965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BAA7624-496F-4F89-817D-8AF0714308FC}"/>
              </a:ext>
            </a:extLst>
          </p:cNvPr>
          <p:cNvSpPr/>
          <p:nvPr userDrawn="1"/>
        </p:nvSpPr>
        <p:spPr>
          <a:xfrm>
            <a:off x="2734734" y="2253648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58E32BA-BE0C-4488-B8EB-732F6128967B}"/>
              </a:ext>
            </a:extLst>
          </p:cNvPr>
          <p:cNvSpPr/>
          <p:nvPr userDrawn="1"/>
        </p:nvSpPr>
        <p:spPr>
          <a:xfrm>
            <a:off x="2734734" y="349483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ED833DA5-F35F-4F65-BED5-F05C52F2BC6F}"/>
              </a:ext>
            </a:extLst>
          </p:cNvPr>
          <p:cNvSpPr/>
          <p:nvPr userDrawn="1"/>
        </p:nvSpPr>
        <p:spPr>
          <a:xfrm>
            <a:off x="2734734" y="4744349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9FCAF0B-1160-4607-A5DB-B6DA4D3B6132}"/>
              </a:ext>
            </a:extLst>
          </p:cNvPr>
          <p:cNvSpPr/>
          <p:nvPr userDrawn="1"/>
        </p:nvSpPr>
        <p:spPr>
          <a:xfrm>
            <a:off x="8445500" y="100965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4AA3BDD-7D99-47C9-8C58-0BEE4016B552}"/>
              </a:ext>
            </a:extLst>
          </p:cNvPr>
          <p:cNvSpPr/>
          <p:nvPr userDrawn="1"/>
        </p:nvSpPr>
        <p:spPr>
          <a:xfrm>
            <a:off x="8445500" y="2253648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FDE5A96-3738-4FFA-9E5A-CFEFD87EAD10}"/>
              </a:ext>
            </a:extLst>
          </p:cNvPr>
          <p:cNvSpPr/>
          <p:nvPr userDrawn="1"/>
        </p:nvSpPr>
        <p:spPr>
          <a:xfrm>
            <a:off x="8445500" y="349483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BD7D16A5-7872-425B-BB1F-C614C018A3DC}"/>
              </a:ext>
            </a:extLst>
          </p:cNvPr>
          <p:cNvSpPr/>
          <p:nvPr userDrawn="1"/>
        </p:nvSpPr>
        <p:spPr>
          <a:xfrm>
            <a:off x="8445500" y="4744349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9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73" name="Bildplatzhalter 4">
            <a:extLst>
              <a:ext uri="{FF2B5EF4-FFF2-40B4-BE49-F238E27FC236}">
                <a16:creationId xmlns:a16="http://schemas.microsoft.com/office/drawing/2014/main" id="{6A119193-1F71-4BEC-B026-63FF8344E9F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12286" y="2259167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22F3C23B-A1A0-44C1-8B1A-16C96C4FEE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12286" y="3500350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1" name="Bildplatzhalter 4">
            <a:extLst>
              <a:ext uri="{FF2B5EF4-FFF2-40B4-BE49-F238E27FC236}">
                <a16:creationId xmlns:a16="http://schemas.microsoft.com/office/drawing/2014/main" id="{31D9F732-278E-4335-A997-3A9B0B4FBB53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12286" y="4749868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2" name="Bildplatzhalter 4">
            <a:extLst>
              <a:ext uri="{FF2B5EF4-FFF2-40B4-BE49-F238E27FC236}">
                <a16:creationId xmlns:a16="http://schemas.microsoft.com/office/drawing/2014/main" id="{F5834584-CCAA-4ACA-AC78-11410558842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623052" y="1009649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3" name="Bildplatzhalter 4">
            <a:extLst>
              <a:ext uri="{FF2B5EF4-FFF2-40B4-BE49-F238E27FC236}">
                <a16:creationId xmlns:a16="http://schemas.microsoft.com/office/drawing/2014/main" id="{2935FB01-471E-4B44-8FD1-C9C8C6AEEDC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623052" y="2256408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819355A9-47BE-45EF-90CD-ADBB16456C5B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6623052" y="3497590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5" name="Bildplatzhalter 4">
            <a:extLst>
              <a:ext uri="{FF2B5EF4-FFF2-40B4-BE49-F238E27FC236}">
                <a16:creationId xmlns:a16="http://schemas.microsoft.com/office/drawing/2014/main" id="{5F5BA631-97BF-4FA7-8C3E-A3D9218C7CA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623052" y="4744349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8" name="Textplatzhalter 26">
            <a:extLst>
              <a:ext uri="{FF2B5EF4-FFF2-40B4-BE49-F238E27FC236}">
                <a16:creationId xmlns:a16="http://schemas.microsoft.com/office/drawing/2014/main" id="{CD59616B-333E-48E7-AC05-F0B13D3AE1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0445" y="1141304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89" name="Textplatzhalter 35">
            <a:extLst>
              <a:ext uri="{FF2B5EF4-FFF2-40B4-BE49-F238E27FC236}">
                <a16:creationId xmlns:a16="http://schemas.microsoft.com/office/drawing/2014/main" id="{73C5EE01-AC79-4E21-BED3-9F2F5EE979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80443" y="1513521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2" name="Textplatzhalter 26">
            <a:extLst>
              <a:ext uri="{FF2B5EF4-FFF2-40B4-BE49-F238E27FC236}">
                <a16:creationId xmlns:a16="http://schemas.microsoft.com/office/drawing/2014/main" id="{CC9232A2-FEFA-44D6-AEA8-80D4370C493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80445" y="23913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93" name="Textplatzhalter 35">
            <a:extLst>
              <a:ext uri="{FF2B5EF4-FFF2-40B4-BE49-F238E27FC236}">
                <a16:creationId xmlns:a16="http://schemas.microsoft.com/office/drawing/2014/main" id="{828DF350-00BC-4951-B663-EE72A944278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080443" y="2763604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9" name="Textplatzhalter 26">
            <a:extLst>
              <a:ext uri="{FF2B5EF4-FFF2-40B4-BE49-F238E27FC236}">
                <a16:creationId xmlns:a16="http://schemas.microsoft.com/office/drawing/2014/main" id="{41FC561B-1E90-4793-8A60-04861C3893F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080445" y="3629900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00" name="Textplatzhalter 35">
            <a:extLst>
              <a:ext uri="{FF2B5EF4-FFF2-40B4-BE49-F238E27FC236}">
                <a16:creationId xmlns:a16="http://schemas.microsoft.com/office/drawing/2014/main" id="{A825FB20-9F0A-4585-BAAB-AEA01864419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080443" y="4002117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3" name="Textplatzhalter 26">
            <a:extLst>
              <a:ext uri="{FF2B5EF4-FFF2-40B4-BE49-F238E27FC236}">
                <a16:creationId xmlns:a16="http://schemas.microsoft.com/office/drawing/2014/main" id="{E5A26FED-5593-4616-B08B-7AA16B1654B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080445" y="487638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04" name="Textplatzhalter 35">
            <a:extLst>
              <a:ext uri="{FF2B5EF4-FFF2-40B4-BE49-F238E27FC236}">
                <a16:creationId xmlns:a16="http://schemas.microsoft.com/office/drawing/2014/main" id="{BBD7BA9E-7FB4-42E3-8E46-4355C274D84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080443" y="5248599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3" name="Textplatzhalter 26">
            <a:extLst>
              <a:ext uri="{FF2B5EF4-FFF2-40B4-BE49-F238E27FC236}">
                <a16:creationId xmlns:a16="http://schemas.microsoft.com/office/drawing/2014/main" id="{C4F7318B-4A5B-4D28-8D24-2A397F7226C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791211" y="1141304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14" name="Textplatzhalter 35">
            <a:extLst>
              <a:ext uri="{FF2B5EF4-FFF2-40B4-BE49-F238E27FC236}">
                <a16:creationId xmlns:a16="http://schemas.microsoft.com/office/drawing/2014/main" id="{ED6A3286-BBAA-49CF-A071-7BBC921B69B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791209" y="1513521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5" name="Textplatzhalter 26">
            <a:extLst>
              <a:ext uri="{FF2B5EF4-FFF2-40B4-BE49-F238E27FC236}">
                <a16:creationId xmlns:a16="http://schemas.microsoft.com/office/drawing/2014/main" id="{93A1C177-A3A7-4E73-82B2-FBF3769C37E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791211" y="23913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16" name="Textplatzhalter 35">
            <a:extLst>
              <a:ext uri="{FF2B5EF4-FFF2-40B4-BE49-F238E27FC236}">
                <a16:creationId xmlns:a16="http://schemas.microsoft.com/office/drawing/2014/main" id="{3D6E6D89-B105-45BA-A727-DC6E3AD9D3D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791209" y="2763604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7" name="Textplatzhalter 26">
            <a:extLst>
              <a:ext uri="{FF2B5EF4-FFF2-40B4-BE49-F238E27FC236}">
                <a16:creationId xmlns:a16="http://schemas.microsoft.com/office/drawing/2014/main" id="{98A16870-2F6E-4901-8F72-6C9038A1AAA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791211" y="3629900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18" name="Textplatzhalter 35">
            <a:extLst>
              <a:ext uri="{FF2B5EF4-FFF2-40B4-BE49-F238E27FC236}">
                <a16:creationId xmlns:a16="http://schemas.microsoft.com/office/drawing/2014/main" id="{84309BD9-C1CA-45A0-B75B-1559199CDA3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791209" y="4002117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9" name="Textplatzhalter 26">
            <a:extLst>
              <a:ext uri="{FF2B5EF4-FFF2-40B4-BE49-F238E27FC236}">
                <a16:creationId xmlns:a16="http://schemas.microsoft.com/office/drawing/2014/main" id="{5B3A3F24-EFFA-4025-A18F-EAB8C2F572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791211" y="487638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20" name="Textplatzhalter 35">
            <a:extLst>
              <a:ext uri="{FF2B5EF4-FFF2-40B4-BE49-F238E27FC236}">
                <a16:creationId xmlns:a16="http://schemas.microsoft.com/office/drawing/2014/main" id="{AD1A3435-A68F-46F8-BE9E-3F5774E56D5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791209" y="5248599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0045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x Bild &amp; Überschrif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848B1AE4-3FBC-4B4C-BFB5-C32DF070AE47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9194AB9-E749-4A87-8E15-1D9DEC356B3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9239" y="1663939"/>
            <a:ext cx="3633711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50B56F4E-0BFA-4920-B730-DA8980EEF5E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738678" y="1663939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8" name="Bildplatzhalter 8">
            <a:extLst>
              <a:ext uri="{FF2B5EF4-FFF2-40B4-BE49-F238E27FC236}">
                <a16:creationId xmlns:a16="http://schemas.microsoft.com/office/drawing/2014/main" id="{59197E5E-CAA6-4798-9991-C64041E0A74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565073" y="1663939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3" name="Bildplatzhalter 8">
            <a:extLst>
              <a:ext uri="{FF2B5EF4-FFF2-40B4-BE49-F238E27FC236}">
                <a16:creationId xmlns:a16="http://schemas.microsoft.com/office/drawing/2014/main" id="{B41E54FF-4CEB-4DE2-A6DD-74E413EA421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9239" y="4084775"/>
            <a:ext cx="3633711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8">
            <a:extLst>
              <a:ext uri="{FF2B5EF4-FFF2-40B4-BE49-F238E27FC236}">
                <a16:creationId xmlns:a16="http://schemas.microsoft.com/office/drawing/2014/main" id="{5DB70E1B-DF22-40D3-9FE7-5F80AA5A7E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738678" y="4084775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8">
            <a:extLst>
              <a:ext uri="{FF2B5EF4-FFF2-40B4-BE49-F238E27FC236}">
                <a16:creationId xmlns:a16="http://schemas.microsoft.com/office/drawing/2014/main" id="{E6AB621D-02D8-4D1E-9980-2FFD82E9C58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565073" y="4084775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Textplatzhalter 26">
            <a:extLst>
              <a:ext uri="{FF2B5EF4-FFF2-40B4-BE49-F238E27FC236}">
                <a16:creationId xmlns:a16="http://schemas.microsoft.com/office/drawing/2014/main" id="{F69311EB-7498-9F4A-A1AF-DF3EB7A1D2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46412" y="1296859"/>
            <a:ext cx="3249403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9" name="Textplatzhalter 26">
            <a:extLst>
              <a:ext uri="{FF2B5EF4-FFF2-40B4-BE49-F238E27FC236}">
                <a16:creationId xmlns:a16="http://schemas.microsoft.com/office/drawing/2014/main" id="{FF4458D5-2A78-6D49-8C01-12B2B56485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5143" y="1296859"/>
            <a:ext cx="3273327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0" name="Textplatzhalter 26">
            <a:extLst>
              <a:ext uri="{FF2B5EF4-FFF2-40B4-BE49-F238E27FC236}">
                <a16:creationId xmlns:a16="http://schemas.microsoft.com/office/drawing/2014/main" id="{217875A8-9090-4A48-95C7-D300A77D29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68169" y="1296859"/>
            <a:ext cx="3266696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1" name="Textplatzhalter 26">
            <a:extLst>
              <a:ext uri="{FF2B5EF4-FFF2-40B4-BE49-F238E27FC236}">
                <a16:creationId xmlns:a16="http://schemas.microsoft.com/office/drawing/2014/main" id="{9E0DC7F7-3BB3-714B-BD16-48D1A36329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46412" y="3717694"/>
            <a:ext cx="3249403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2" name="Textplatzhalter 26">
            <a:extLst>
              <a:ext uri="{FF2B5EF4-FFF2-40B4-BE49-F238E27FC236}">
                <a16:creationId xmlns:a16="http://schemas.microsoft.com/office/drawing/2014/main" id="{5D1E6107-5BDC-2743-83DB-154C9F68569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35143" y="3717694"/>
            <a:ext cx="3273327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3" name="Textplatzhalter 26">
            <a:extLst>
              <a:ext uri="{FF2B5EF4-FFF2-40B4-BE49-F238E27FC236}">
                <a16:creationId xmlns:a16="http://schemas.microsoft.com/office/drawing/2014/main" id="{E99A4454-3C05-C447-AA4A-6D7DFF1DD0C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68169" y="3717694"/>
            <a:ext cx="3266696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80B690A9-D725-4A5B-AFF5-04E4252F4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22484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2286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3052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623052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78526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AF4BC-D1E9-40F0-A26B-9EA9B6B69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1081941"/>
            <a:ext cx="10543032" cy="2852737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7974A6-FAB9-47DA-8F1A-701DFC8DF3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0624" y="3961666"/>
            <a:ext cx="10543032" cy="1500187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64E2B4-314C-4D4F-8938-E437A2EF52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760CDE-A6F1-4138-AF12-ED09E8E5FB6B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442F23-6986-4A36-97F0-13F305A2D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4BA1B9-2423-42BD-A553-DC5703F624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34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ck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51716" y="1353875"/>
            <a:ext cx="3309176" cy="155198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51354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81065" y="1356172"/>
            <a:ext cx="1732881" cy="12579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41A9F677-4DAC-4A15-81B3-D4DEC6B7CDB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55927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6E7AB74-AF20-48A2-9C40-83C82E0F5A4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78021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75D2276-AC38-464F-ADA2-2D09EF2AEA1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687960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A15B1EE3-88E6-438B-8BAB-A140E6DA45F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905698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7F59E4D-3963-4A65-8E55-943B70C2615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116623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8023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0647B6A-76EC-47E4-91B6-049EB09B2C5C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17" name="Bildplatzhalter 5">
            <a:extLst>
              <a:ext uri="{FF2B5EF4-FFF2-40B4-BE49-F238E27FC236}">
                <a16:creationId xmlns:a16="http://schemas.microsoft.com/office/drawing/2014/main" id="{407B090F-1EAA-4556-8981-5234D055CB2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81899" y="1013140"/>
            <a:ext cx="5608439" cy="4834962"/>
          </a:xfrm>
          <a:custGeom>
            <a:avLst/>
            <a:gdLst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0 w 3719512"/>
              <a:gd name="connsiteY4" fmla="*/ 0 h 3313112"/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0 w 3719512"/>
              <a:gd name="connsiteY5" fmla="*/ 0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49288 w 3708400"/>
              <a:gd name="connsiteY0" fmla="*/ 4618 h 3313112"/>
              <a:gd name="connsiteX1" fmla="*/ 3708400 w 3708400"/>
              <a:gd name="connsiteY1" fmla="*/ 0 h 3313112"/>
              <a:gd name="connsiteX2" fmla="*/ 3708400 w 3708400"/>
              <a:gd name="connsiteY2" fmla="*/ 3313112 h 3313112"/>
              <a:gd name="connsiteX3" fmla="*/ 727797 w 3708400"/>
              <a:gd name="connsiteY3" fmla="*/ 3313112 h 3313112"/>
              <a:gd name="connsiteX4" fmla="*/ 1 w 3708400"/>
              <a:gd name="connsiteY4" fmla="*/ 1052223 h 3313112"/>
              <a:gd name="connsiteX5" fmla="*/ 649288 w 3708400"/>
              <a:gd name="connsiteY5" fmla="*/ 4618 h 3313112"/>
              <a:gd name="connsiteX0" fmla="*/ 649288 w 3708400"/>
              <a:gd name="connsiteY0" fmla="*/ 4618 h 3313127"/>
              <a:gd name="connsiteX1" fmla="*/ 3708400 w 3708400"/>
              <a:gd name="connsiteY1" fmla="*/ 0 h 3313127"/>
              <a:gd name="connsiteX2" fmla="*/ 3708400 w 3708400"/>
              <a:gd name="connsiteY2" fmla="*/ 3313112 h 3313127"/>
              <a:gd name="connsiteX3" fmla="*/ 727797 w 3708400"/>
              <a:gd name="connsiteY3" fmla="*/ 3313112 h 3313127"/>
              <a:gd name="connsiteX4" fmla="*/ 1 w 3708400"/>
              <a:gd name="connsiteY4" fmla="*/ 1052223 h 3313127"/>
              <a:gd name="connsiteX5" fmla="*/ 649288 w 3708400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38368 h 3313127"/>
              <a:gd name="connsiteX5" fmla="*/ 649287 w 3708399"/>
              <a:gd name="connsiteY5" fmla="*/ 4618 h 3313127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3708399 w 4251324"/>
              <a:gd name="connsiteY2" fmla="*/ 3308494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44382 h 3308509"/>
              <a:gd name="connsiteX5" fmla="*/ 649287 w 4251324"/>
              <a:gd name="connsiteY5" fmla="*/ 0 h 3308509"/>
              <a:gd name="connsiteX0" fmla="*/ 649287 w 4251523"/>
              <a:gd name="connsiteY0" fmla="*/ 0 h 3308509"/>
              <a:gd name="connsiteX1" fmla="*/ 4251324 w 4251523"/>
              <a:gd name="connsiteY1" fmla="*/ 2525 h 3308509"/>
              <a:gd name="connsiteX2" fmla="*/ 4251290 w 4251523"/>
              <a:gd name="connsiteY2" fmla="*/ 3306113 h 3308509"/>
              <a:gd name="connsiteX3" fmla="*/ 727796 w 4251523"/>
              <a:gd name="connsiteY3" fmla="*/ 3308494 h 3308509"/>
              <a:gd name="connsiteX4" fmla="*/ 0 w 4251523"/>
              <a:gd name="connsiteY4" fmla="*/ 1044382 h 3308509"/>
              <a:gd name="connsiteX5" fmla="*/ 649287 w 4251523"/>
              <a:gd name="connsiteY5" fmla="*/ 0 h 3308509"/>
              <a:gd name="connsiteX0" fmla="*/ 649287 w 4251524"/>
              <a:gd name="connsiteY0" fmla="*/ 0 h 3308509"/>
              <a:gd name="connsiteX1" fmla="*/ 4251324 w 4251524"/>
              <a:gd name="connsiteY1" fmla="*/ 2525 h 3308509"/>
              <a:gd name="connsiteX2" fmla="*/ 4251291 w 4251524"/>
              <a:gd name="connsiteY2" fmla="*/ 3306113 h 3308509"/>
              <a:gd name="connsiteX3" fmla="*/ 727796 w 4251524"/>
              <a:gd name="connsiteY3" fmla="*/ 3308494 h 3308509"/>
              <a:gd name="connsiteX4" fmla="*/ 0 w 4251524"/>
              <a:gd name="connsiteY4" fmla="*/ 1044382 h 3308509"/>
              <a:gd name="connsiteX5" fmla="*/ 649287 w 4251524"/>
              <a:gd name="connsiteY5" fmla="*/ 0 h 3308509"/>
              <a:gd name="connsiteX0" fmla="*/ 649287 w 4256061"/>
              <a:gd name="connsiteY0" fmla="*/ 0 h 3308509"/>
              <a:gd name="connsiteX1" fmla="*/ 4251324 w 4256061"/>
              <a:gd name="connsiteY1" fmla="*/ 2525 h 3308509"/>
              <a:gd name="connsiteX2" fmla="*/ 4255992 w 4256061"/>
              <a:gd name="connsiteY2" fmla="*/ 3308462 h 3308509"/>
              <a:gd name="connsiteX3" fmla="*/ 727796 w 4256061"/>
              <a:gd name="connsiteY3" fmla="*/ 3308494 h 3308509"/>
              <a:gd name="connsiteX4" fmla="*/ 0 w 4256061"/>
              <a:gd name="connsiteY4" fmla="*/ 1044382 h 3308509"/>
              <a:gd name="connsiteX5" fmla="*/ 649287 w 4256061"/>
              <a:gd name="connsiteY5" fmla="*/ 0 h 3308509"/>
              <a:gd name="connsiteX0" fmla="*/ 649287 w 4256225"/>
              <a:gd name="connsiteY0" fmla="*/ 2175 h 3310684"/>
              <a:gd name="connsiteX1" fmla="*/ 4256025 w 4256225"/>
              <a:gd name="connsiteY1" fmla="*/ 0 h 3310684"/>
              <a:gd name="connsiteX2" fmla="*/ 4255992 w 4256225"/>
              <a:gd name="connsiteY2" fmla="*/ 3310637 h 3310684"/>
              <a:gd name="connsiteX3" fmla="*/ 727796 w 4256225"/>
              <a:gd name="connsiteY3" fmla="*/ 3310669 h 3310684"/>
              <a:gd name="connsiteX4" fmla="*/ 0 w 4256225"/>
              <a:gd name="connsiteY4" fmla="*/ 1046557 h 3310684"/>
              <a:gd name="connsiteX5" fmla="*/ 649287 w 4256225"/>
              <a:gd name="connsiteY5" fmla="*/ 2175 h 3310684"/>
              <a:gd name="connsiteX0" fmla="*/ 649287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49287 w 4256225"/>
              <a:gd name="connsiteY5" fmla="*/ 0 h 3308509"/>
              <a:gd name="connsiteX0" fmla="*/ 651566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51566 w 4256225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854794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233128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233128 w 3837787"/>
              <a:gd name="connsiteY5" fmla="*/ 0 h 3308508"/>
              <a:gd name="connsiteX0" fmla="*/ 485641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5641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7787" h="3308508">
                <a:moveTo>
                  <a:pt x="488116" y="0"/>
                </a:moveTo>
                <a:lnTo>
                  <a:pt x="3837587" y="105"/>
                </a:lnTo>
                <a:cubicBezTo>
                  <a:pt x="3836793" y="1101301"/>
                  <a:pt x="3838348" y="2207266"/>
                  <a:pt x="3837554" y="3308462"/>
                </a:cubicBezTo>
                <a:lnTo>
                  <a:pt x="1090871" y="3308494"/>
                </a:lnTo>
                <a:cubicBezTo>
                  <a:pt x="1091496" y="3313785"/>
                  <a:pt x="409600" y="1886052"/>
                  <a:pt x="0" y="1027068"/>
                </a:cubicBezTo>
                <a:cubicBezTo>
                  <a:pt x="203863" y="609799"/>
                  <a:pt x="311629" y="380324"/>
                  <a:pt x="488116" y="0"/>
                </a:cubicBez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799D434-E711-5848-80D1-3DAB88AD9C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1503" y="1345341"/>
            <a:ext cx="3438600" cy="59042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58" b="1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B06A5221-38FC-0A45-B567-8FC9F2C8A2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71506" y="2222564"/>
            <a:ext cx="3438598" cy="329009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0396" indent="-230396">
              <a:spcBef>
                <a:spcPts val="800"/>
              </a:spcBef>
              <a:spcAft>
                <a:spcPts val="0"/>
              </a:spcAft>
              <a:buFontTx/>
              <a:buBlip>
                <a:blip r:embed="rId2"/>
              </a:buBlip>
              <a:defRPr sz="1438" b="0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3F00AE2-1760-4A8E-9E28-E05FD932DC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719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B505A4F-7D3B-42FC-8DCA-EC5497C7AEF7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7795AC2F-CBA1-4222-B52B-D68E8EDAAEA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6001"/>
            <a:ext cx="11271045" cy="25749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Grafik 9">
            <a:extLst>
              <a:ext uri="{FF2B5EF4-FFF2-40B4-BE49-F238E27FC236}">
                <a16:creationId xmlns:a16="http://schemas.microsoft.com/office/drawing/2014/main" id="{87FB08AA-E516-0A4A-A21E-573CFDDE58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63851" y="3971987"/>
            <a:ext cx="531963" cy="508000"/>
          </a:xfrm>
          <a:prstGeom prst="rect">
            <a:avLst/>
          </a:prstGeom>
        </p:spPr>
      </p:pic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9CC19695-BF1E-4D40-A7A4-9A19E3812B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1504" y="3971987"/>
            <a:ext cx="2381448" cy="59042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58" b="1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EA82907D-DAAA-7A46-9336-76F36E6154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01919" y="3971985"/>
            <a:ext cx="3309176" cy="154067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0396" indent="-230396">
              <a:spcBef>
                <a:spcPts val="800"/>
              </a:spcBef>
              <a:spcAft>
                <a:spcPts val="0"/>
              </a:spcAft>
              <a:buFontTx/>
              <a:buBlip>
                <a:blip r:embed="rId4"/>
              </a:buBlip>
              <a:defRPr sz="1438" b="0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9FBB1583-2824-224E-83B8-EA073C6A1A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57711" y="3971985"/>
            <a:ext cx="3295570" cy="154067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0396" indent="-230396">
              <a:spcBef>
                <a:spcPts val="800"/>
              </a:spcBef>
              <a:spcAft>
                <a:spcPts val="0"/>
              </a:spcAft>
              <a:buFontTx/>
              <a:buBlip>
                <a:blip r:embed="rId4"/>
              </a:buBlip>
              <a:defRPr sz="1438" b="0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F5DC176-7BE9-4F92-BDA6-1DEF3CD64E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43288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AF15E4D-60BE-4F06-BFF9-D3166E58232A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8" name="Bildplatzhalter 21">
            <a:extLst>
              <a:ext uri="{FF2B5EF4-FFF2-40B4-BE49-F238E27FC236}">
                <a16:creationId xmlns:a16="http://schemas.microsoft.com/office/drawing/2014/main" id="{0145011A-6A29-4C1B-8AC4-465FEC6462A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30733" y="1016000"/>
            <a:ext cx="6761267" cy="4832349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422B33E6-C66E-0642-8824-5F9F9706FE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49458" y="1349840"/>
            <a:ext cx="3652461" cy="416282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38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B67F71B-F595-4649-8D2C-5C49019090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22636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1">
            <a:extLst>
              <a:ext uri="{FF2B5EF4-FFF2-40B4-BE49-F238E27FC236}">
                <a16:creationId xmlns:a16="http://schemas.microsoft.com/office/drawing/2014/main" id="{49F33779-D48C-4918-BFBC-98F9EAB5E2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6000"/>
            <a:ext cx="11271045" cy="483234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92C23A0-BE19-47B4-87C2-3E85D8F0DE9B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6162EEA3-EE2C-4CDD-A308-71519187F1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264891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4A277F98-0860-4217-9FE3-212F90CCFF8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12192000" cy="5848350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294853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83FAB4AF-8D89-4B18-851A-0C3BBBA018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30733" y="1016000"/>
            <a:ext cx="6761267" cy="4832349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DA205671-6F91-451B-93C2-AB36C1D775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5684"/>
            <a:ext cx="6750892" cy="483266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B9C06851-A738-455A-B943-31E540C65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67889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21">
            <a:extLst>
              <a:ext uri="{FF2B5EF4-FFF2-40B4-BE49-F238E27FC236}">
                <a16:creationId xmlns:a16="http://schemas.microsoft.com/office/drawing/2014/main" id="{DE81FEC8-02C9-459A-BC47-4D4EEBE49B2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-3225"/>
            <a:ext cx="7460889" cy="5851574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2419 h 4388681"/>
              <a:gd name="connsiteX1" fmla="*/ 3500772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  <a:gd name="connsiteX0" fmla="*/ 0 w 5595667"/>
              <a:gd name="connsiteY0" fmla="*/ 2419 h 4388681"/>
              <a:gd name="connsiteX1" fmla="*/ 3495934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8681">
                <a:moveTo>
                  <a:pt x="0" y="2419"/>
                </a:moveTo>
                <a:lnTo>
                  <a:pt x="3495934" y="0"/>
                </a:lnTo>
                <a:lnTo>
                  <a:pt x="5595667" y="4388681"/>
                </a:lnTo>
                <a:lnTo>
                  <a:pt x="0" y="4388681"/>
                </a:lnTo>
                <a:lnTo>
                  <a:pt x="0" y="2419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21">
            <a:extLst>
              <a:ext uri="{FF2B5EF4-FFF2-40B4-BE49-F238E27FC236}">
                <a16:creationId xmlns:a16="http://schemas.microsoft.com/office/drawing/2014/main" id="{28FD84B1-3C5F-4A6E-8F37-DC31AB76CAD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31110" y="0"/>
            <a:ext cx="7460889" cy="5848350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8681"/>
              <a:gd name="connsiteX1" fmla="*/ 5595667 w 5595667"/>
              <a:gd name="connsiteY1" fmla="*/ 0 h 4388681"/>
              <a:gd name="connsiteX2" fmla="*/ 5595667 w 5595667"/>
              <a:gd name="connsiteY2" fmla="*/ 4386262 h 4388681"/>
              <a:gd name="connsiteX3" fmla="*/ 2102152 w 5595667"/>
              <a:gd name="connsiteY3" fmla="*/ 4388681 h 4388681"/>
              <a:gd name="connsiteX4" fmla="*/ 0 w 5595667"/>
              <a:gd name="connsiteY4" fmla="*/ 0 h 4388681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3843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6262 h 4386262"/>
              <a:gd name="connsiteX4" fmla="*/ 0 w 5595667"/>
              <a:gd name="connsiteY4" fmla="*/ 0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6262">
                <a:moveTo>
                  <a:pt x="0" y="0"/>
                </a:moveTo>
                <a:lnTo>
                  <a:pt x="5595667" y="0"/>
                </a:lnTo>
                <a:lnTo>
                  <a:pt x="5595667" y="4386262"/>
                </a:lnTo>
                <a:lnTo>
                  <a:pt x="2102152" y="4386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8035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1E3A6839-94DD-4584-B049-304E6FF1D0F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6000"/>
            <a:ext cx="4864777" cy="4832349"/>
          </a:xfrm>
          <a:custGeom>
            <a:avLst/>
            <a:gdLst>
              <a:gd name="connsiteX0" fmla="*/ 0 w 3648583"/>
              <a:gd name="connsiteY0" fmla="*/ 0 h 3624262"/>
              <a:gd name="connsiteX1" fmla="*/ 364858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  <a:gd name="connsiteX0" fmla="*/ 0 w 3648583"/>
              <a:gd name="connsiteY0" fmla="*/ 0 h 3624262"/>
              <a:gd name="connsiteX1" fmla="*/ 191503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8583" h="3624262">
                <a:moveTo>
                  <a:pt x="0" y="0"/>
                </a:moveTo>
                <a:lnTo>
                  <a:pt x="1915033" y="0"/>
                </a:lnTo>
                <a:lnTo>
                  <a:pt x="3648583" y="3624262"/>
                </a:lnTo>
                <a:lnTo>
                  <a:pt x="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Bildplatzhalter 21">
            <a:extLst>
              <a:ext uri="{FF2B5EF4-FFF2-40B4-BE49-F238E27FC236}">
                <a16:creationId xmlns:a16="http://schemas.microsoft.com/office/drawing/2014/main" id="{80DCE87E-665C-4F26-B7E0-9A5523307C8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97909" y="1016000"/>
            <a:ext cx="4894091" cy="4832349"/>
          </a:xfrm>
          <a:custGeom>
            <a:avLst/>
            <a:gdLst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0 w 3670568"/>
              <a:gd name="connsiteY3" fmla="*/ 3624262 h 3624262"/>
              <a:gd name="connsiteX4" fmla="*/ 0 w 3670568"/>
              <a:gd name="connsiteY4" fmla="*/ 0 h 3624262"/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1735931 w 3670568"/>
              <a:gd name="connsiteY3" fmla="*/ 3624262 h 3624262"/>
              <a:gd name="connsiteX4" fmla="*/ 0 w 3670568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0568" h="3624262">
                <a:moveTo>
                  <a:pt x="0" y="0"/>
                </a:moveTo>
                <a:lnTo>
                  <a:pt x="3670568" y="0"/>
                </a:lnTo>
                <a:lnTo>
                  <a:pt x="3670568" y="3624262"/>
                </a:lnTo>
                <a:lnTo>
                  <a:pt x="1735931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7" name="Bildplatzhalter 21">
            <a:extLst>
              <a:ext uri="{FF2B5EF4-FFF2-40B4-BE49-F238E27FC236}">
                <a16:creationId xmlns:a16="http://schemas.microsoft.com/office/drawing/2014/main" id="{C9BA9FBD-B328-45A8-804F-0500B3CD6A5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44619" y="1016000"/>
            <a:ext cx="5994405" cy="4832349"/>
          </a:xfrm>
          <a:custGeom>
            <a:avLst/>
            <a:gdLst>
              <a:gd name="connsiteX0" fmla="*/ 0 w 4495803"/>
              <a:gd name="connsiteY0" fmla="*/ 0 h 3624262"/>
              <a:gd name="connsiteX1" fmla="*/ 4495803 w 4495803"/>
              <a:gd name="connsiteY1" fmla="*/ 0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2381 h 3626643"/>
              <a:gd name="connsiteX1" fmla="*/ 2764634 w 4495803"/>
              <a:gd name="connsiteY1" fmla="*/ 0 h 3626643"/>
              <a:gd name="connsiteX2" fmla="*/ 4495803 w 4495803"/>
              <a:gd name="connsiteY2" fmla="*/ 3626643 h 3626643"/>
              <a:gd name="connsiteX3" fmla="*/ 0 w 4495803"/>
              <a:gd name="connsiteY3" fmla="*/ 3626643 h 3626643"/>
              <a:gd name="connsiteX4" fmla="*/ 0 w 4495803"/>
              <a:gd name="connsiteY4" fmla="*/ 2381 h 3626643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1731168 w 4495803"/>
              <a:gd name="connsiteY3" fmla="*/ 3624262 h 3624262"/>
              <a:gd name="connsiteX4" fmla="*/ 0 w 449580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95803" h="3624262">
                <a:moveTo>
                  <a:pt x="0" y="0"/>
                </a:moveTo>
                <a:lnTo>
                  <a:pt x="2762253" y="1"/>
                </a:lnTo>
                <a:lnTo>
                  <a:pt x="4495803" y="3624262"/>
                </a:lnTo>
                <a:lnTo>
                  <a:pt x="1731168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7775D768-A633-4118-B5C7-2F3DFD9F52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850377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264F76-994F-4AB5-B17B-46C0C2FA5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365125"/>
            <a:ext cx="10543032" cy="1325563"/>
          </a:xfrm>
        </p:spPr>
        <p:txBody>
          <a:bodyPr>
            <a:normAutofit/>
          </a:bodyPr>
          <a:lstStyle>
            <a:lvl1pPr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69B3B-A540-4556-98C8-1F49704A7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0624" y="1825625"/>
            <a:ext cx="5599176" cy="4206382"/>
          </a:xfrm>
        </p:spPr>
        <p:txBody>
          <a:bodyPr/>
          <a:lstStyle>
            <a:lvl1pPr marL="457200" indent="-457200">
              <a:buFont typeface="Wingdings 2" panose="05020102010507070707" pitchFamily="18" charset="2"/>
              <a:buChar char="¬"/>
              <a:defRPr/>
            </a:lvl1pPr>
            <a:lvl2pPr marL="800100" indent="-342900">
              <a:buFont typeface="Wingdings 2" panose="05020102010507070707" pitchFamily="18" charset="2"/>
              <a:buChar char="¬"/>
              <a:defRPr/>
            </a:lvl2pPr>
            <a:lvl3pPr marL="1257300" indent="-342900">
              <a:buFont typeface="Wingdings 2" panose="05020102010507070707" pitchFamily="18" charset="2"/>
              <a:buChar char="¬"/>
              <a:defRPr/>
            </a:lvl3pPr>
            <a:lvl4pPr marL="1657350" indent="-285750">
              <a:buFont typeface="Wingdings 2" panose="05020102010507070707" pitchFamily="18" charset="2"/>
              <a:buChar char="¬"/>
              <a:defRPr/>
            </a:lvl4pPr>
            <a:lvl5pPr marL="2114550" indent="-285750">
              <a:buFont typeface="Wingdings 2" panose="05020102010507070707" pitchFamily="18" charset="2"/>
              <a:buChar char="¬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C72438-7C63-48F2-9D6F-2461BFD6D5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4791456" cy="4206382"/>
          </a:xfrm>
        </p:spPr>
        <p:txBody>
          <a:bodyPr/>
          <a:lstStyle>
            <a:lvl1pPr marL="228600" indent="-228600">
              <a:buFont typeface="Wingdings 2" panose="05020102010507070707" pitchFamily="18" charset="2"/>
              <a:buChar char="¬"/>
              <a:defRPr/>
            </a:lvl1pPr>
            <a:lvl2pPr marL="685800" indent="-228600">
              <a:buFont typeface="Wingdings 2" panose="05020102010507070707" pitchFamily="18" charset="2"/>
              <a:buChar char="¬"/>
              <a:defRPr/>
            </a:lvl2pPr>
            <a:lvl3pPr marL="1143000" indent="-228600">
              <a:buFont typeface="Wingdings 2" panose="05020102010507070707" pitchFamily="18" charset="2"/>
              <a:buChar char="¬"/>
              <a:defRPr/>
            </a:lvl3pPr>
            <a:lvl4pPr marL="1600200" indent="-228600">
              <a:buFont typeface="Wingdings 2" panose="05020102010507070707" pitchFamily="18" charset="2"/>
              <a:buChar char="¬"/>
              <a:defRPr/>
            </a:lvl4pPr>
            <a:lvl5pPr marL="2057400" indent="-228600">
              <a:buFont typeface="Wingdings 2" panose="05020102010507070707" pitchFamily="18" charset="2"/>
              <a:buChar char="¬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FA1B49-6AAA-4DA7-970F-B75899F1AB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5F8B1-DB7B-4D28-A97D-40FB2DD1EF78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E3649A-B9A2-4737-B47E-758DC1406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0C1407-C705-451C-878E-8175DCCD5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13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1">
            <a:extLst>
              <a:ext uri="{FF2B5EF4-FFF2-40B4-BE49-F238E27FC236}">
                <a16:creationId xmlns:a16="http://schemas.microsoft.com/office/drawing/2014/main" id="{F6835963-99FF-4A3C-A109-A75FC6EBCF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5684"/>
            <a:ext cx="6750892" cy="483266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21">
            <a:extLst>
              <a:ext uri="{FF2B5EF4-FFF2-40B4-BE49-F238E27FC236}">
                <a16:creationId xmlns:a16="http://schemas.microsoft.com/office/drawing/2014/main" id="{0477E770-F5E0-401B-BCB0-9D9D8A0355C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30733" y="1016001"/>
            <a:ext cx="6761267" cy="2380566"/>
          </a:xfrm>
          <a:custGeom>
            <a:avLst/>
            <a:gdLst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0 w 5070950"/>
              <a:gd name="connsiteY3" fmla="*/ 1785424 h 1785424"/>
              <a:gd name="connsiteX4" fmla="*/ 0 w 5070950"/>
              <a:gd name="connsiteY4" fmla="*/ 0 h 1785424"/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854869 w 5070950"/>
              <a:gd name="connsiteY3" fmla="*/ 1785424 h 1785424"/>
              <a:gd name="connsiteX4" fmla="*/ 0 w 5070950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1785424">
                <a:moveTo>
                  <a:pt x="0" y="0"/>
                </a:moveTo>
                <a:lnTo>
                  <a:pt x="5070950" y="0"/>
                </a:lnTo>
                <a:lnTo>
                  <a:pt x="5070950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21">
            <a:extLst>
              <a:ext uri="{FF2B5EF4-FFF2-40B4-BE49-F238E27FC236}">
                <a16:creationId xmlns:a16="http://schemas.microsoft.com/office/drawing/2014/main" id="{338637C0-A93B-4AA6-A323-B2CD84B1C1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0827" y="3461433"/>
            <a:ext cx="5591173" cy="2386917"/>
          </a:xfrm>
          <a:custGeom>
            <a:avLst/>
            <a:gdLst>
              <a:gd name="connsiteX0" fmla="*/ 0 w 3338511"/>
              <a:gd name="connsiteY0" fmla="*/ 0 h 1790188"/>
              <a:gd name="connsiteX1" fmla="*/ 3338511 w 3338511"/>
              <a:gd name="connsiteY1" fmla="*/ 0 h 1790188"/>
              <a:gd name="connsiteX2" fmla="*/ 3338511 w 3338511"/>
              <a:gd name="connsiteY2" fmla="*/ 1790188 h 1790188"/>
              <a:gd name="connsiteX3" fmla="*/ 0 w 3338511"/>
              <a:gd name="connsiteY3" fmla="*/ 1790188 h 1790188"/>
              <a:gd name="connsiteX4" fmla="*/ 0 w 3338511"/>
              <a:gd name="connsiteY4" fmla="*/ 0 h 1790188"/>
              <a:gd name="connsiteX0" fmla="*/ 0 w 4190998"/>
              <a:gd name="connsiteY0" fmla="*/ 2381 h 1790188"/>
              <a:gd name="connsiteX1" fmla="*/ 4190998 w 4190998"/>
              <a:gd name="connsiteY1" fmla="*/ 0 h 1790188"/>
              <a:gd name="connsiteX2" fmla="*/ 4190998 w 4190998"/>
              <a:gd name="connsiteY2" fmla="*/ 1790188 h 1790188"/>
              <a:gd name="connsiteX3" fmla="*/ 852487 w 4190998"/>
              <a:gd name="connsiteY3" fmla="*/ 1790188 h 1790188"/>
              <a:gd name="connsiteX4" fmla="*/ 0 w 4190998"/>
              <a:gd name="connsiteY4" fmla="*/ 2381 h 1790188"/>
              <a:gd name="connsiteX0" fmla="*/ 0 w 4193380"/>
              <a:gd name="connsiteY0" fmla="*/ 0 h 1790188"/>
              <a:gd name="connsiteX1" fmla="*/ 4193380 w 4193380"/>
              <a:gd name="connsiteY1" fmla="*/ 0 h 1790188"/>
              <a:gd name="connsiteX2" fmla="*/ 4193380 w 4193380"/>
              <a:gd name="connsiteY2" fmla="*/ 1790188 h 1790188"/>
              <a:gd name="connsiteX3" fmla="*/ 854869 w 4193380"/>
              <a:gd name="connsiteY3" fmla="*/ 1790188 h 1790188"/>
              <a:gd name="connsiteX4" fmla="*/ 0 w 4193380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93380" h="1790188">
                <a:moveTo>
                  <a:pt x="0" y="0"/>
                </a:moveTo>
                <a:lnTo>
                  <a:pt x="4193380" y="0"/>
                </a:lnTo>
                <a:lnTo>
                  <a:pt x="4193380" y="1790188"/>
                </a:lnTo>
                <a:lnTo>
                  <a:pt x="854869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2A34CF17-47B0-4417-B30F-BDEA62A858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53887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21">
            <a:extLst>
              <a:ext uri="{FF2B5EF4-FFF2-40B4-BE49-F238E27FC236}">
                <a16:creationId xmlns:a16="http://schemas.microsoft.com/office/drawing/2014/main" id="{BCB5A6FE-F83F-481B-A44E-0015489295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5" y="3461433"/>
            <a:ext cx="4297994" cy="2386917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3223495"/>
              <a:gd name="connsiteY0" fmla="*/ 0 h 1790188"/>
              <a:gd name="connsiteX1" fmla="*/ 2371940 w 3223495"/>
              <a:gd name="connsiteY1" fmla="*/ 3142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3495" h="1790188">
                <a:moveTo>
                  <a:pt x="0" y="0"/>
                </a:moveTo>
                <a:lnTo>
                  <a:pt x="2371940" y="3142"/>
                </a:lnTo>
                <a:lnTo>
                  <a:pt x="3223495" y="1790188"/>
                </a:lnTo>
                <a:lnTo>
                  <a:pt x="0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21">
            <a:extLst>
              <a:ext uri="{FF2B5EF4-FFF2-40B4-BE49-F238E27FC236}">
                <a16:creationId xmlns:a16="http://schemas.microsoft.com/office/drawing/2014/main" id="{B1BB259A-7D20-4F2B-8A88-6221557211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26152" y="1016000"/>
            <a:ext cx="6165848" cy="2380566"/>
          </a:xfrm>
          <a:custGeom>
            <a:avLst/>
            <a:gdLst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0 w 4624386"/>
              <a:gd name="connsiteY3" fmla="*/ 1785424 h 1785424"/>
              <a:gd name="connsiteX4" fmla="*/ 0 w 4624386"/>
              <a:gd name="connsiteY4" fmla="*/ 0 h 1785424"/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854869 w 4624386"/>
              <a:gd name="connsiteY3" fmla="*/ 1785424 h 1785424"/>
              <a:gd name="connsiteX4" fmla="*/ 0 w 4624386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4386" h="1785424">
                <a:moveTo>
                  <a:pt x="0" y="0"/>
                </a:moveTo>
                <a:lnTo>
                  <a:pt x="4624386" y="0"/>
                </a:lnTo>
                <a:lnTo>
                  <a:pt x="4624386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21">
            <a:extLst>
              <a:ext uri="{FF2B5EF4-FFF2-40B4-BE49-F238E27FC236}">
                <a16:creationId xmlns:a16="http://schemas.microsoft.com/office/drawing/2014/main" id="{D1D97D89-3380-41C0-A5E9-03F9AD14915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0955" y="1016000"/>
            <a:ext cx="6171997" cy="2380566"/>
          </a:xfrm>
          <a:custGeom>
            <a:avLst/>
            <a:gdLst>
              <a:gd name="connsiteX0" fmla="*/ 0 w 4628998"/>
              <a:gd name="connsiteY0" fmla="*/ 0 h 1785424"/>
              <a:gd name="connsiteX1" fmla="*/ 4628998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  <a:gd name="connsiteX0" fmla="*/ 0 w 4628998"/>
              <a:gd name="connsiteY0" fmla="*/ 0 h 1785424"/>
              <a:gd name="connsiteX1" fmla="*/ 3781273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8998" h="1785424">
                <a:moveTo>
                  <a:pt x="0" y="0"/>
                </a:moveTo>
                <a:lnTo>
                  <a:pt x="3781273" y="0"/>
                </a:lnTo>
                <a:lnTo>
                  <a:pt x="4628998" y="1785424"/>
                </a:lnTo>
                <a:lnTo>
                  <a:pt x="0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21">
            <a:extLst>
              <a:ext uri="{FF2B5EF4-FFF2-40B4-BE49-F238E27FC236}">
                <a16:creationId xmlns:a16="http://schemas.microsoft.com/office/drawing/2014/main" id="{2B135A71-655E-43AC-8825-9C0FB6E91C7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59515" y="3461433"/>
            <a:ext cx="4815313" cy="2386917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4068838"/>
              <a:gd name="connsiteY0" fmla="*/ 2381 h 1790188"/>
              <a:gd name="connsiteX1" fmla="*/ 4068838 w 4068838"/>
              <a:gd name="connsiteY1" fmla="*/ 0 h 1790188"/>
              <a:gd name="connsiteX2" fmla="*/ 4068838 w 4068838"/>
              <a:gd name="connsiteY2" fmla="*/ 1790188 h 1790188"/>
              <a:gd name="connsiteX3" fmla="*/ 845343 w 4068838"/>
              <a:gd name="connsiteY3" fmla="*/ 1790188 h 1790188"/>
              <a:gd name="connsiteX4" fmla="*/ 0 w 4068838"/>
              <a:gd name="connsiteY4" fmla="*/ 2381 h 1790188"/>
              <a:gd name="connsiteX0" fmla="*/ 0 w 4071220"/>
              <a:gd name="connsiteY0" fmla="*/ 2381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2381 h 1790188"/>
              <a:gd name="connsiteX0" fmla="*/ 0 w 4071220"/>
              <a:gd name="connsiteY0" fmla="*/ 0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4071220"/>
              <a:gd name="connsiteY0" fmla="*/ 0 h 1790188"/>
              <a:gd name="connsiteX1" fmla="*/ 2761532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3616401"/>
              <a:gd name="connsiteY0" fmla="*/ 0 h 1790188"/>
              <a:gd name="connsiteX1" fmla="*/ 2761532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6401"/>
              <a:gd name="connsiteY0" fmla="*/ 0 h 1790188"/>
              <a:gd name="connsiteX1" fmla="*/ 2754157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1485"/>
              <a:gd name="connsiteY0" fmla="*/ 0 h 1790188"/>
              <a:gd name="connsiteX1" fmla="*/ 2754157 w 3611485"/>
              <a:gd name="connsiteY1" fmla="*/ 0 h 1790188"/>
              <a:gd name="connsiteX2" fmla="*/ 3611485 w 3611485"/>
              <a:gd name="connsiteY2" fmla="*/ 1790188 h 1790188"/>
              <a:gd name="connsiteX3" fmla="*/ 847725 w 3611485"/>
              <a:gd name="connsiteY3" fmla="*/ 1790188 h 1790188"/>
              <a:gd name="connsiteX4" fmla="*/ 0 w 361148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1485" h="1790188">
                <a:moveTo>
                  <a:pt x="0" y="0"/>
                </a:moveTo>
                <a:lnTo>
                  <a:pt x="2754157" y="0"/>
                </a:lnTo>
                <a:lnTo>
                  <a:pt x="3611485" y="1790188"/>
                </a:lnTo>
                <a:lnTo>
                  <a:pt x="847725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7" name="Bildplatzhalter 21">
            <a:extLst>
              <a:ext uri="{FF2B5EF4-FFF2-40B4-BE49-F238E27FC236}">
                <a16:creationId xmlns:a16="http://schemas.microsoft.com/office/drawing/2014/main" id="{DCFB798B-032F-40A6-AE3A-243C82FD9E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02577" y="3461433"/>
            <a:ext cx="4289425" cy="2386917"/>
          </a:xfrm>
          <a:custGeom>
            <a:avLst/>
            <a:gdLst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0 w 3217069"/>
              <a:gd name="connsiteY3" fmla="*/ 1790188 h 1790188"/>
              <a:gd name="connsiteX4" fmla="*/ 0 w 3217069"/>
              <a:gd name="connsiteY4" fmla="*/ 0 h 1790188"/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852488 w 3217069"/>
              <a:gd name="connsiteY3" fmla="*/ 1790188 h 1790188"/>
              <a:gd name="connsiteX4" fmla="*/ 0 w 3217069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7069" h="1790188">
                <a:moveTo>
                  <a:pt x="0" y="0"/>
                </a:moveTo>
                <a:lnTo>
                  <a:pt x="3217069" y="0"/>
                </a:lnTo>
                <a:lnTo>
                  <a:pt x="3217069" y="1790188"/>
                </a:lnTo>
                <a:lnTo>
                  <a:pt x="852488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3D3AFB44-2835-4DFF-8494-E551BDA84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73112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leere Folie (ohne Überschrift &amp; Contentbere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winkliges Dreieck 1">
            <a:extLst>
              <a:ext uri="{FF2B5EF4-FFF2-40B4-BE49-F238E27FC236}">
                <a16:creationId xmlns:a16="http://schemas.microsoft.com/office/drawing/2014/main" id="{6A8FDD1B-3C1E-4FF2-8C55-FD9C0BD96512}"/>
              </a:ext>
            </a:extLst>
          </p:cNvPr>
          <p:cNvSpPr/>
          <p:nvPr userDrawn="1"/>
        </p:nvSpPr>
        <p:spPr>
          <a:xfrm>
            <a:off x="2" y="0"/>
            <a:ext cx="5511800" cy="6858000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 eaLnBrk="1"/>
            <a:endParaRPr lang="de-DE" sz="2400">
              <a:latin typeface="+mj-lt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271C1616-0B5C-4DF7-8B2F-962511F31CE0}"/>
              </a:ext>
            </a:extLst>
          </p:cNvPr>
          <p:cNvSpPr/>
          <p:nvPr userDrawn="1"/>
        </p:nvSpPr>
        <p:spPr>
          <a:xfrm>
            <a:off x="-1717" y="6022400"/>
            <a:ext cx="859887" cy="500919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>
              <a:latin typeface="+mj-lt"/>
            </a:endParaRPr>
          </a:p>
        </p:txBody>
      </p:sp>
      <p:sp>
        <p:nvSpPr>
          <p:cNvPr id="6" name="textBoxPageXFromY">
            <a:extLst>
              <a:ext uri="{FF2B5EF4-FFF2-40B4-BE49-F238E27FC236}">
                <a16:creationId xmlns:a16="http://schemas.microsoft.com/office/drawing/2014/main" id="{4CACF3C0-820D-4E32-A662-70C751300069}"/>
              </a:ext>
            </a:extLst>
          </p:cNvPr>
          <p:cNvSpPr txBox="1">
            <a:spLocks/>
          </p:cNvSpPr>
          <p:nvPr userDrawn="1"/>
        </p:nvSpPr>
        <p:spPr>
          <a:xfrm>
            <a:off x="-1715" y="6104003"/>
            <a:ext cx="712117" cy="36618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9A2F21-4C61-4C7B-ACD9-58995BD3F758}" type="slidenum">
              <a:rPr lang="de-DE" sz="1079" smtClean="0"/>
              <a:t>‹Nr.›</a:t>
            </a:fld>
            <a:endParaRPr lang="de-DE" sz="1079"/>
          </a:p>
        </p:txBody>
      </p:sp>
      <p:sp>
        <p:nvSpPr>
          <p:cNvPr id="16" name="textBoxChangeDate">
            <a:extLst>
              <a:ext uri="{FF2B5EF4-FFF2-40B4-BE49-F238E27FC236}">
                <a16:creationId xmlns:a16="http://schemas.microsoft.com/office/drawing/2014/main" id="{7AA358CF-47E2-4350-8A87-10C0F90A3942}"/>
              </a:ext>
            </a:extLst>
          </p:cNvPr>
          <p:cNvSpPr txBox="1">
            <a:spLocks/>
          </p:cNvSpPr>
          <p:nvPr userDrawn="1"/>
        </p:nvSpPr>
        <p:spPr>
          <a:xfrm>
            <a:off x="1238801" y="6125228"/>
            <a:ext cx="1679947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Änderungsdatum: 18.07.2018</a:t>
            </a:r>
          </a:p>
        </p:txBody>
      </p:sp>
      <p:sp>
        <p:nvSpPr>
          <p:cNvPr id="17" name="textBoxCreationDate">
            <a:extLst>
              <a:ext uri="{FF2B5EF4-FFF2-40B4-BE49-F238E27FC236}">
                <a16:creationId xmlns:a16="http://schemas.microsoft.com/office/drawing/2014/main" id="{61A5BF2B-5F4A-4028-B56C-44054A65547F}"/>
              </a:ext>
            </a:extLst>
          </p:cNvPr>
          <p:cNvSpPr txBox="1">
            <a:spLocks/>
          </p:cNvSpPr>
          <p:nvPr userDrawn="1"/>
        </p:nvSpPr>
        <p:spPr>
          <a:xfrm>
            <a:off x="1238801" y="6306106"/>
            <a:ext cx="1699183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Erstellungsdatum: 14.08.2018</a:t>
            </a:r>
          </a:p>
        </p:txBody>
      </p:sp>
      <p:sp>
        <p:nvSpPr>
          <p:cNvPr id="18" name="textBoxUserName">
            <a:extLst>
              <a:ext uri="{FF2B5EF4-FFF2-40B4-BE49-F238E27FC236}">
                <a16:creationId xmlns:a16="http://schemas.microsoft.com/office/drawing/2014/main" id="{3F063445-F6C1-42E3-A8F8-50AC90D511B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13127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  <p:sp>
        <p:nvSpPr>
          <p:cNvPr id="19" name="textBoxDepartment">
            <a:extLst>
              <a:ext uri="{FF2B5EF4-FFF2-40B4-BE49-F238E27FC236}">
                <a16:creationId xmlns:a16="http://schemas.microsoft.com/office/drawing/2014/main" id="{2214E889-2DC2-4239-9C1F-EB7352E83669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04545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</p:spTree>
    <p:extLst>
      <p:ext uri="{BB962C8B-B14F-4D97-AF65-F5344CB8AC3E}">
        <p14:creationId xmlns:p14="http://schemas.microsoft.com/office/powerpoint/2010/main" val="84570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03" y="1904"/>
          <a:ext cx="1904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3" y="1904"/>
                        <a:ext cx="1904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1225" y="6194167"/>
            <a:ext cx="11765745" cy="129123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39"/>
            </a:lvl1pPr>
            <a:lvl2pPr marL="0" indent="0">
              <a:lnSpc>
                <a:spcPts val="959"/>
              </a:lnSpc>
              <a:buFontTx/>
              <a:buNone/>
              <a:defRPr sz="839"/>
            </a:lvl2pPr>
            <a:lvl3pPr marL="0" indent="0">
              <a:lnSpc>
                <a:spcPts val="959"/>
              </a:lnSpc>
              <a:buFontTx/>
              <a:buNone/>
              <a:defRPr sz="839"/>
            </a:lvl3pPr>
            <a:lvl4pPr marL="0" indent="0">
              <a:lnSpc>
                <a:spcPts val="959"/>
              </a:lnSpc>
              <a:buFontTx/>
              <a:buNone/>
              <a:defRPr sz="839"/>
            </a:lvl4pPr>
            <a:lvl5pPr marL="0" indent="0">
              <a:lnSpc>
                <a:spcPts val="959"/>
              </a:lnSpc>
              <a:buFontTx/>
              <a:buNone/>
              <a:defRPr sz="839"/>
            </a:lvl5pPr>
            <a:lvl6pPr marL="0" indent="0">
              <a:lnSpc>
                <a:spcPts val="959"/>
              </a:lnSpc>
              <a:buFontTx/>
              <a:buNone/>
              <a:defRPr sz="839"/>
            </a:lvl6pPr>
            <a:lvl7pPr marL="0" indent="0">
              <a:lnSpc>
                <a:spcPts val="959"/>
              </a:lnSpc>
              <a:buFontTx/>
              <a:buNone/>
              <a:defRPr sz="839"/>
            </a:lvl7pPr>
            <a:lvl8pPr marL="0" indent="0">
              <a:lnSpc>
                <a:spcPts val="959"/>
              </a:lnSpc>
              <a:buFontTx/>
              <a:buNone/>
              <a:defRPr sz="839"/>
            </a:lvl8pPr>
            <a:lvl9pPr marL="0" indent="0">
              <a:lnSpc>
                <a:spcPts val="959"/>
              </a:lnSpc>
              <a:buFontTx/>
              <a:buNone/>
              <a:defRPr sz="839"/>
            </a:lvl9pPr>
          </a:lstStyle>
          <a:p>
            <a:pPr lvl="0"/>
            <a:r>
              <a:rPr lang="de-DE"/>
              <a:t>Quelle &amp; Fußnoten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1C80D1B7-208D-8145-BB40-D0AB602B11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1225" y="1615550"/>
            <a:ext cx="11765745" cy="452316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5709" indent="-5709">
              <a:spcBef>
                <a:spcPts val="0"/>
              </a:spcBef>
              <a:buClr>
                <a:schemeClr val="bg1"/>
              </a:buClr>
              <a:buSzPct val="25000"/>
              <a:buFont typeface="Systemschrift"/>
              <a:buChar char="­"/>
              <a:tabLst/>
              <a:defRPr sz="2158">
                <a:solidFill>
                  <a:schemeClr val="tx1"/>
                </a:solidFill>
              </a:defRPr>
            </a:lvl1pPr>
            <a:lvl2pPr marL="319693" indent="-213129">
              <a:spcBef>
                <a:spcPts val="0"/>
              </a:spcBef>
              <a:tabLst/>
              <a:defRPr sz="2158">
                <a:solidFill>
                  <a:schemeClr val="tx1"/>
                </a:solidFill>
              </a:defRPr>
            </a:lvl2pPr>
            <a:lvl3pPr marL="534726" indent="-196003"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tabLst/>
              <a:defRPr lang="de-DE" sz="2158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7855" indent="-196003">
              <a:spcBef>
                <a:spcPts val="0"/>
              </a:spcBef>
              <a:tabLst/>
              <a:defRPr lang="de-DE" sz="2158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2886" indent="-190294">
              <a:spcBef>
                <a:spcPts val="0"/>
              </a:spcBef>
              <a:tabLst/>
              <a:defRPr lang="de-DE" sz="2158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2190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1/2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03" y="1904"/>
          <a:ext cx="1904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3" y="1904"/>
                        <a:ext cx="1904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B50739-959F-4BE2-B9E4-FF75EA6ED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Bildplatzhalter 21">
            <a:extLst>
              <a:ext uri="{FF2B5EF4-FFF2-40B4-BE49-F238E27FC236}">
                <a16:creationId xmlns:a16="http://schemas.microsoft.com/office/drawing/2014/main" id="{A1523B40-F722-4458-A72D-06A80FCF7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12652"/>
            <a:ext cx="7148355" cy="4529961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  <a:gd name="connsiteX0" fmla="*/ 0 w 5063169"/>
              <a:gd name="connsiteY0" fmla="*/ 2559 h 3626821"/>
              <a:gd name="connsiteX1" fmla="*/ 3528242 w 5063169"/>
              <a:gd name="connsiteY1" fmla="*/ 0 h 3626821"/>
              <a:gd name="connsiteX2" fmla="*/ 5063169 w 5063169"/>
              <a:gd name="connsiteY2" fmla="*/ 3626821 h 3626821"/>
              <a:gd name="connsiteX3" fmla="*/ 0 w 5063169"/>
              <a:gd name="connsiteY3" fmla="*/ 3626821 h 3626821"/>
              <a:gd name="connsiteX4" fmla="*/ 0 w 5063169"/>
              <a:gd name="connsiteY4" fmla="*/ 2559 h 3626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6821">
                <a:moveTo>
                  <a:pt x="0" y="2559"/>
                </a:moveTo>
                <a:lnTo>
                  <a:pt x="3528242" y="0"/>
                </a:lnTo>
                <a:lnTo>
                  <a:pt x="5063169" y="3626821"/>
                </a:lnTo>
                <a:lnTo>
                  <a:pt x="0" y="3626821"/>
                </a:lnTo>
                <a:lnTo>
                  <a:pt x="0" y="2559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1">
            <a:extLst>
              <a:ext uri="{FF2B5EF4-FFF2-40B4-BE49-F238E27FC236}">
                <a16:creationId xmlns:a16="http://schemas.microsoft.com/office/drawing/2014/main" id="{CD5193FC-E9CA-4155-AD20-B517784930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43643" y="1612652"/>
            <a:ext cx="7148356" cy="4529961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8681"/>
              <a:gd name="connsiteX1" fmla="*/ 5595667 w 5595667"/>
              <a:gd name="connsiteY1" fmla="*/ 0 h 4388681"/>
              <a:gd name="connsiteX2" fmla="*/ 5595667 w 5595667"/>
              <a:gd name="connsiteY2" fmla="*/ 4386262 h 4388681"/>
              <a:gd name="connsiteX3" fmla="*/ 2102152 w 5595667"/>
              <a:gd name="connsiteY3" fmla="*/ 4388681 h 4388681"/>
              <a:gd name="connsiteX4" fmla="*/ 0 w 5595667"/>
              <a:gd name="connsiteY4" fmla="*/ 0 h 4388681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3843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1694601 w 5595667"/>
              <a:gd name="connsiteY3" fmla="*/ 4386262 h 4386262"/>
              <a:gd name="connsiteX4" fmla="*/ 0 w 5595667"/>
              <a:gd name="connsiteY4" fmla="*/ 0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6262">
                <a:moveTo>
                  <a:pt x="0" y="0"/>
                </a:moveTo>
                <a:lnTo>
                  <a:pt x="5595667" y="0"/>
                </a:lnTo>
                <a:lnTo>
                  <a:pt x="5595667" y="4386262"/>
                </a:lnTo>
                <a:lnTo>
                  <a:pt x="1694601" y="4386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294104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03" y="1904"/>
          <a:ext cx="1904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3" y="1904"/>
                        <a:ext cx="1904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1225" y="6194167"/>
            <a:ext cx="11765745" cy="129123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39"/>
            </a:lvl1pPr>
            <a:lvl2pPr marL="0" indent="0">
              <a:lnSpc>
                <a:spcPts val="959"/>
              </a:lnSpc>
              <a:buFontTx/>
              <a:buNone/>
              <a:defRPr sz="839"/>
            </a:lvl2pPr>
            <a:lvl3pPr marL="0" indent="0">
              <a:lnSpc>
                <a:spcPts val="959"/>
              </a:lnSpc>
              <a:buFontTx/>
              <a:buNone/>
              <a:defRPr sz="839"/>
            </a:lvl3pPr>
            <a:lvl4pPr marL="0" indent="0">
              <a:lnSpc>
                <a:spcPts val="959"/>
              </a:lnSpc>
              <a:buFontTx/>
              <a:buNone/>
              <a:defRPr sz="839"/>
            </a:lvl4pPr>
            <a:lvl5pPr marL="0" indent="0">
              <a:lnSpc>
                <a:spcPts val="959"/>
              </a:lnSpc>
              <a:buFontTx/>
              <a:buNone/>
              <a:defRPr sz="839"/>
            </a:lvl5pPr>
            <a:lvl6pPr marL="0" indent="0">
              <a:lnSpc>
                <a:spcPts val="959"/>
              </a:lnSpc>
              <a:buFontTx/>
              <a:buNone/>
              <a:defRPr sz="839"/>
            </a:lvl6pPr>
            <a:lvl7pPr marL="0" indent="0">
              <a:lnSpc>
                <a:spcPts val="959"/>
              </a:lnSpc>
              <a:buFontTx/>
              <a:buNone/>
              <a:defRPr sz="839"/>
            </a:lvl7pPr>
            <a:lvl8pPr marL="0" indent="0">
              <a:lnSpc>
                <a:spcPts val="959"/>
              </a:lnSpc>
              <a:buFontTx/>
              <a:buNone/>
              <a:defRPr sz="839"/>
            </a:lvl8pPr>
            <a:lvl9pPr marL="0" indent="0">
              <a:lnSpc>
                <a:spcPts val="959"/>
              </a:lnSpc>
              <a:buFontTx/>
              <a:buNone/>
              <a:defRPr sz="839"/>
            </a:lvl9pPr>
          </a:lstStyle>
          <a:p>
            <a:pPr lvl="0"/>
            <a:r>
              <a:rPr lang="de-DE"/>
              <a:t>Quelle &amp; Fußnoten</a:t>
            </a:r>
          </a:p>
        </p:txBody>
      </p:sp>
    </p:spTree>
    <p:extLst>
      <p:ext uri="{BB962C8B-B14F-4D97-AF65-F5344CB8AC3E}">
        <p14:creationId xmlns:p14="http://schemas.microsoft.com/office/powerpoint/2010/main" val="306701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absch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>
            <a:extLst>
              <a:ext uri="{FF2B5EF4-FFF2-40B4-BE49-F238E27FC236}">
                <a16:creationId xmlns:a16="http://schemas.microsoft.com/office/drawing/2014/main" id="{8583D35B-AE2F-4BB5-9B4C-650A03BB37B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69889" y="2542832"/>
            <a:ext cx="3452223" cy="1772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6276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0FB9F193-AE4C-4A2A-8E95-3F077B73C0F8}"/>
              </a:ext>
            </a:extLst>
          </p:cNvPr>
          <p:cNvSpPr/>
          <p:nvPr userDrawn="1"/>
        </p:nvSpPr>
        <p:spPr>
          <a:xfrm>
            <a:off x="-1" y="1"/>
            <a:ext cx="1144085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lvl="0" algn="ctr"/>
            <a:endParaRPr lang="de-DE" sz="2400" err="1">
              <a:latin typeface="+mj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AAF3A9F-E821-499A-BEC2-27A3632A7486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2"/>
          <p:cNvSpPr>
            <a:spLocks noGrp="1"/>
          </p:cNvSpPr>
          <p:nvPr>
            <p:ph type="pic" sz="quarter" idx="17"/>
          </p:nvPr>
        </p:nvSpPr>
        <p:spPr>
          <a:xfrm>
            <a:off x="912286" y="1009651"/>
            <a:ext cx="11279716" cy="4838550"/>
          </a:xfrm>
          <a:prstGeom prst="rect">
            <a:avLst/>
          </a:prstGeom>
          <a:solidFill>
            <a:schemeClr val="bg1"/>
          </a:solidFill>
        </p:spPr>
        <p:txBody>
          <a:bodyPr anchor="b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-1" y="1009652"/>
            <a:ext cx="6572644" cy="1754575"/>
          </a:xfrm>
          <a:custGeom>
            <a:avLst/>
            <a:gdLst>
              <a:gd name="connsiteX0" fmla="*/ 0 w 4859308"/>
              <a:gd name="connsiteY0" fmla="*/ 0 h 1582989"/>
              <a:gd name="connsiteX1" fmla="*/ 4859308 w 4859308"/>
              <a:gd name="connsiteY1" fmla="*/ 0 h 1582989"/>
              <a:gd name="connsiteX2" fmla="*/ 4859308 w 4859308"/>
              <a:gd name="connsiteY2" fmla="*/ 1582989 h 1582989"/>
              <a:gd name="connsiteX3" fmla="*/ 0 w 4859308"/>
              <a:gd name="connsiteY3" fmla="*/ 1582989 h 1582989"/>
              <a:gd name="connsiteX4" fmla="*/ 0 w 4859308"/>
              <a:gd name="connsiteY4" fmla="*/ 0 h 1582989"/>
              <a:gd name="connsiteX0" fmla="*/ 0 w 5795653"/>
              <a:gd name="connsiteY0" fmla="*/ 0 h 1582989"/>
              <a:gd name="connsiteX1" fmla="*/ 4859308 w 5795653"/>
              <a:gd name="connsiteY1" fmla="*/ 0 h 1582989"/>
              <a:gd name="connsiteX2" fmla="*/ 5795653 w 5795653"/>
              <a:gd name="connsiteY2" fmla="*/ 1575674 h 1582989"/>
              <a:gd name="connsiteX3" fmla="*/ 0 w 5795653"/>
              <a:gd name="connsiteY3" fmla="*/ 1582989 h 1582989"/>
              <a:gd name="connsiteX4" fmla="*/ 0 w 5795653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75674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  <a:gd name="connsiteX0" fmla="*/ 0 w 5615439"/>
              <a:gd name="connsiteY0" fmla="*/ 0 h 1582989"/>
              <a:gd name="connsiteX1" fmla="*/ 4859308 w 5615439"/>
              <a:gd name="connsiteY1" fmla="*/ 0 h 1582989"/>
              <a:gd name="connsiteX2" fmla="*/ 5615439 w 5615439"/>
              <a:gd name="connsiteY2" fmla="*/ 1582989 h 1582989"/>
              <a:gd name="connsiteX3" fmla="*/ 0 w 5615439"/>
              <a:gd name="connsiteY3" fmla="*/ 1582989 h 1582989"/>
              <a:gd name="connsiteX4" fmla="*/ 0 w 5615439"/>
              <a:gd name="connsiteY4" fmla="*/ 0 h 158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5439" h="1582989">
                <a:moveTo>
                  <a:pt x="0" y="0"/>
                </a:moveTo>
                <a:lnTo>
                  <a:pt x="4859308" y="0"/>
                </a:lnTo>
                <a:lnTo>
                  <a:pt x="5615439" y="1582989"/>
                </a:lnTo>
                <a:lnTo>
                  <a:pt x="0" y="1582989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none" lIns="684000" tIns="180000" rIns="1260000" bIns="900000">
            <a:spAutoFit/>
          </a:bodyPr>
          <a:lstStyle>
            <a:lvl1pPr algn="l">
              <a:defRPr sz="4315" b="1">
                <a:solidFill>
                  <a:schemeClr val="bg1"/>
                </a:solidFill>
              </a:defRPr>
            </a:lvl1pPr>
          </a:lstStyle>
          <a:p>
            <a:r>
              <a:rPr lang="en-US" err="1"/>
              <a:t>Titel</a:t>
            </a:r>
            <a:r>
              <a:rPr lang="en-US"/>
              <a:t> / </a:t>
            </a:r>
            <a:r>
              <a:rPr lang="en-US" err="1"/>
              <a:t>Veranstaltung</a:t>
            </a:r>
            <a:endParaRPr lang="en-US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D65D662-8F5E-4621-A86C-89E2733D22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2284" y="2035717"/>
            <a:ext cx="2211759" cy="3520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800"/>
              </a:spcBef>
              <a:buNone/>
              <a:defRPr sz="2158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676C5FC-564D-48EB-93AA-C8A3462DA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2284" y="2453648"/>
            <a:ext cx="1217706" cy="3520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800"/>
              </a:spcBef>
              <a:buNone/>
              <a:defRPr sz="2158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131637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9210DFC-0BD9-4A14-BA0A-2FF7D6A1E1D3}"/>
              </a:ext>
            </a:extLst>
          </p:cNvPr>
          <p:cNvSpPr/>
          <p:nvPr userDrawn="1"/>
        </p:nvSpPr>
        <p:spPr>
          <a:xfrm>
            <a:off x="0" y="5847568"/>
            <a:ext cx="1136084" cy="10104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58" err="1">
              <a:solidFill>
                <a:schemeClr val="tx1"/>
              </a:solidFill>
            </a:endParaRPr>
          </a:p>
        </p:txBody>
      </p:sp>
      <p:sp>
        <p:nvSpPr>
          <p:cNvPr id="11" name="Bildplatzhalter 12">
            <a:extLst>
              <a:ext uri="{FF2B5EF4-FFF2-40B4-BE49-F238E27FC236}">
                <a16:creationId xmlns:a16="http://schemas.microsoft.com/office/drawing/2014/main" id="{12460F4B-E8C5-4630-A020-1AA387B00D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12192000" cy="5848351"/>
          </a:xfrm>
          <a:prstGeom prst="rect">
            <a:avLst/>
          </a:prstGeom>
          <a:solidFill>
            <a:schemeClr val="tx1"/>
          </a:solidFill>
        </p:spPr>
        <p:txBody>
          <a:bodyPr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7651" y="2072141"/>
            <a:ext cx="2035622" cy="391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650" y="928289"/>
            <a:ext cx="8132312" cy="112851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7192" b="1">
                <a:solidFill>
                  <a:schemeClr val="bg1"/>
                </a:solidFill>
              </a:defRPr>
            </a:lvl1pPr>
          </a:lstStyle>
          <a:p>
            <a:r>
              <a:rPr lang="de-DE"/>
              <a:t>Einzeilige Überschrift</a:t>
            </a:r>
          </a:p>
        </p:txBody>
      </p:sp>
    </p:spTree>
    <p:extLst>
      <p:ext uri="{BB962C8B-B14F-4D97-AF65-F5344CB8AC3E}">
        <p14:creationId xmlns:p14="http://schemas.microsoft.com/office/powerpoint/2010/main" val="244359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(HL 1-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917F288-BD42-4F9B-954C-BBC375689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25270" y="2072141"/>
            <a:ext cx="2035622" cy="391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überschrif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CAE81D3-3AB6-4684-B63D-CCAEFCCBCD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28579" y="928289"/>
            <a:ext cx="8132313" cy="112851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7192" b="1">
                <a:solidFill>
                  <a:schemeClr val="tx1"/>
                </a:solidFill>
              </a:defRPr>
            </a:lvl1pPr>
          </a:lstStyle>
          <a:p>
            <a:r>
              <a:rPr lang="de-DE"/>
              <a:t>Einzeilige Überschrif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D9D174-3F23-4CB1-A939-0A39EEBF6BF0}"/>
              </a:ext>
            </a:extLst>
          </p:cNvPr>
          <p:cNvSpPr/>
          <p:nvPr userDrawn="1"/>
        </p:nvSpPr>
        <p:spPr>
          <a:xfrm>
            <a:off x="0" y="5847568"/>
            <a:ext cx="1136084" cy="101043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58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436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F9955-0460-4A20-8FC6-300595560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365125"/>
            <a:ext cx="10543032" cy="1325563"/>
          </a:xfrm>
        </p:spPr>
        <p:txBody>
          <a:bodyPr>
            <a:normAutofit/>
          </a:bodyPr>
          <a:lstStyle>
            <a:lvl1pPr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95DDA7-4AAD-4EBE-880C-200E5F10A6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0624" y="1681163"/>
            <a:ext cx="5549697" cy="823912"/>
          </a:xfrm>
        </p:spPr>
        <p:txBody>
          <a:bodyPr anchor="b">
            <a:normAutofit/>
          </a:bodyPr>
          <a:lstStyle>
            <a:lvl1pPr marL="0" indent="0">
              <a:buNone/>
              <a:defRPr sz="3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717496-E470-4CF6-884C-F07390A468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0624" y="2505075"/>
            <a:ext cx="5549697" cy="3526932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C438EA-D381-4F22-A911-ECDD6D04FB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70321" y="1681163"/>
            <a:ext cx="4993335" cy="823912"/>
          </a:xfrm>
        </p:spPr>
        <p:txBody>
          <a:bodyPr anchor="b">
            <a:normAutofit/>
          </a:bodyPr>
          <a:lstStyle>
            <a:lvl1pPr marL="0" indent="0">
              <a:buNone/>
              <a:defRPr sz="3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F255FA-A04D-49F2-8DB4-3CC082D0DBC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70321" y="2505075"/>
            <a:ext cx="4993335" cy="3526932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6298F3-0AEC-4811-99A4-B78AE3A70B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624" y="6217920"/>
            <a:ext cx="2743200" cy="640080"/>
          </a:xfrm>
        </p:spPr>
        <p:txBody>
          <a:bodyPr/>
          <a:lstStyle/>
          <a:p>
            <a:fld id="{14039161-23B8-4738-9069-73EBE8884FDD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7690B4-8A9A-4717-8B0B-2C9212926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28F00A-44BE-4E0A-B1CE-1FC489654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6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>
            <a:extLst>
              <a:ext uri="{FF2B5EF4-FFF2-40B4-BE49-F238E27FC236}">
                <a16:creationId xmlns:a16="http://schemas.microsoft.com/office/drawing/2014/main" id="{3FA93BF2-B11D-4FC5-9B10-8E083CAFCA12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04C55368-C9FF-4E80-A821-ECF4B91A34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21683" y="1937091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63" name="Textplatzhalter 4">
            <a:extLst>
              <a:ext uri="{FF2B5EF4-FFF2-40B4-BE49-F238E27FC236}">
                <a16:creationId xmlns:a16="http://schemas.microsoft.com/office/drawing/2014/main" id="{DCA1C46C-FE53-4CB5-983F-95043DD5C2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21683" y="2167567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4C56456F-A842-4673-B9B4-A420E7B2FD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21683" y="2815050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70" name="Textplatzhalter 4">
            <a:extLst>
              <a:ext uri="{FF2B5EF4-FFF2-40B4-BE49-F238E27FC236}">
                <a16:creationId xmlns:a16="http://schemas.microsoft.com/office/drawing/2014/main" id="{F1B2E5D1-D0D9-4ECD-99C5-A6F97DD19A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21683" y="3045527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71" name="Textplatzhalter 4">
            <a:extLst>
              <a:ext uri="{FF2B5EF4-FFF2-40B4-BE49-F238E27FC236}">
                <a16:creationId xmlns:a16="http://schemas.microsoft.com/office/drawing/2014/main" id="{1108200B-3F4B-4770-9A39-BF274C511B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21683" y="3709754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72" name="Textplatzhalter 4">
            <a:extLst>
              <a:ext uri="{FF2B5EF4-FFF2-40B4-BE49-F238E27FC236}">
                <a16:creationId xmlns:a16="http://schemas.microsoft.com/office/drawing/2014/main" id="{CFEC609D-F72F-4C73-9E59-1A7B68E841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21683" y="3940231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8EE6C1EE-F60F-40FA-B72A-6452AA8D4D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21683" y="4576135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1" i="0" baseline="0"/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F573C38E-34E1-4D8A-9905-A27FACF947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21683" y="4806611"/>
            <a:ext cx="3467600" cy="258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78" b="0" i="0" baseline="0"/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Agenda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CCD3883-268D-404C-86CD-292C9ED11E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8759" y="1862294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BB0FBF2-FB7B-CC4E-9868-95DCE0EE1D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48759" y="2746908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886CE867-369D-594A-99DA-520254F255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48759" y="3631192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B0319E20-2D18-3C4F-B52B-64CF2E678E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48759" y="4504843"/>
            <a:ext cx="580235" cy="5799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tIns="100800" anchor="ctr"/>
          <a:lstStyle>
            <a:lvl1pPr marL="0" indent="0" algn="ctr">
              <a:buNone/>
              <a:defRPr sz="2158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CA541BC4-1640-48BE-BCDB-2C9179F6A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4 Angaben)</a:t>
            </a: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09492F50-300F-4A13-80F4-927498968A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430733" y="1016000"/>
            <a:ext cx="6761267" cy="4832349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7677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3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platzhalter 12">
            <a:extLst>
              <a:ext uri="{FF2B5EF4-FFF2-40B4-BE49-F238E27FC236}">
                <a16:creationId xmlns:a16="http://schemas.microsoft.com/office/drawing/2014/main" id="{E3643EA2-8E02-45CA-A39F-DAB17BFEA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2192000" cy="5864333"/>
          </a:xfrm>
          <a:prstGeom prst="rect">
            <a:avLst/>
          </a:prstGeom>
        </p:spPr>
      </p:pic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1E149EB0-6633-EC48-8ACA-3E18C57410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49489" y="2298135"/>
            <a:ext cx="4446950" cy="157647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6401 h 1182357"/>
              <a:gd name="connsiteX1" fmla="*/ 3335212 w 3916237"/>
              <a:gd name="connsiteY1" fmla="*/ 0 h 1182357"/>
              <a:gd name="connsiteX2" fmla="*/ 3916237 w 3916237"/>
              <a:gd name="connsiteY2" fmla="*/ 1182357 h 1182357"/>
              <a:gd name="connsiteX3" fmla="*/ 569704 w 3916237"/>
              <a:gd name="connsiteY3" fmla="*/ 1182357 h 1182357"/>
              <a:gd name="connsiteX4" fmla="*/ 0 w 3916237"/>
              <a:gd name="connsiteY4" fmla="*/ 6401 h 1182357"/>
              <a:gd name="connsiteX0" fmla="*/ 0 w 3335212"/>
              <a:gd name="connsiteY0" fmla="*/ 6401 h 1182357"/>
              <a:gd name="connsiteX1" fmla="*/ 3335212 w 3335212"/>
              <a:gd name="connsiteY1" fmla="*/ 0 h 1182357"/>
              <a:gd name="connsiteX2" fmla="*/ 3328862 w 3335212"/>
              <a:gd name="connsiteY2" fmla="*/ 1182357 h 1182357"/>
              <a:gd name="connsiteX3" fmla="*/ 569704 w 3335212"/>
              <a:gd name="connsiteY3" fmla="*/ 1182357 h 1182357"/>
              <a:gd name="connsiteX4" fmla="*/ 0 w 3335212"/>
              <a:gd name="connsiteY4" fmla="*/ 6401 h 1182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5212" h="1182357">
                <a:moveTo>
                  <a:pt x="0" y="6401"/>
                </a:moveTo>
                <a:lnTo>
                  <a:pt x="3335212" y="0"/>
                </a:lnTo>
                <a:cubicBezTo>
                  <a:pt x="3333095" y="394119"/>
                  <a:pt x="3330979" y="788238"/>
                  <a:pt x="3328862" y="1182357"/>
                </a:cubicBezTo>
                <a:lnTo>
                  <a:pt x="569704" y="1182357"/>
                </a:lnTo>
                <a:lnTo>
                  <a:pt x="0" y="640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8E38B91A-AA43-3648-99A7-462F23082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47396" y="3940713"/>
            <a:ext cx="3655315" cy="1568009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51 h 1176007"/>
              <a:gd name="connsiteX1" fmla="*/ 2741487 w 3916237"/>
              <a:gd name="connsiteY1" fmla="*/ 0 h 1176007"/>
              <a:gd name="connsiteX2" fmla="*/ 3916237 w 3916237"/>
              <a:gd name="connsiteY2" fmla="*/ 1176007 h 1176007"/>
              <a:gd name="connsiteX3" fmla="*/ 569704 w 3916237"/>
              <a:gd name="connsiteY3" fmla="*/ 1176007 h 1176007"/>
              <a:gd name="connsiteX4" fmla="*/ 0 w 3916237"/>
              <a:gd name="connsiteY4" fmla="*/ 51 h 1176007"/>
              <a:gd name="connsiteX0" fmla="*/ 0 w 2741487"/>
              <a:gd name="connsiteY0" fmla="*/ 51 h 1176007"/>
              <a:gd name="connsiteX1" fmla="*/ 2741487 w 2741487"/>
              <a:gd name="connsiteY1" fmla="*/ 0 h 1176007"/>
              <a:gd name="connsiteX2" fmla="*/ 2738312 w 2741487"/>
              <a:gd name="connsiteY2" fmla="*/ 1176007 h 1176007"/>
              <a:gd name="connsiteX3" fmla="*/ 569704 w 2741487"/>
              <a:gd name="connsiteY3" fmla="*/ 1176007 h 1176007"/>
              <a:gd name="connsiteX4" fmla="*/ 0 w 2741487"/>
              <a:gd name="connsiteY4" fmla="*/ 51 h 1176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1487" h="1176007">
                <a:moveTo>
                  <a:pt x="0" y="51"/>
                </a:moveTo>
                <a:lnTo>
                  <a:pt x="2741487" y="0"/>
                </a:lnTo>
                <a:cubicBezTo>
                  <a:pt x="2740429" y="392002"/>
                  <a:pt x="2739370" y="784005"/>
                  <a:pt x="2738312" y="1176007"/>
                </a:cubicBezTo>
                <a:lnTo>
                  <a:pt x="569704" y="1176007"/>
                </a:lnTo>
                <a:lnTo>
                  <a:pt x="0" y="5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3E47CD0-14B1-6B48-BD37-D5E31D1E7C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7494480" y="2776731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E7FAE09-2E51-9540-9D0C-651412FE99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8293504" y="442988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918EBE0-C521-FC4F-9CC7-C3BC26377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7967" y="659792"/>
            <a:ext cx="5221649" cy="1580709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85532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569704" y="1185532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720000" tIns="36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0A5938DA-AB2D-B641-9609-172C5D5F7A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flipH="1">
            <a:off x="6716122" y="1130467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F5929F82-2F3E-45AC-87CB-3DFE73C8D8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56310" y="1454475"/>
            <a:ext cx="376362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CEB501B8-615F-F843-B54D-9920EC14A2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47833" y="3088586"/>
            <a:ext cx="376362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C3E9233D-477A-FF44-B2A2-A256EB6A6F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645738" y="4722697"/>
            <a:ext cx="376362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3344693-5232-46BB-A228-6965BF2E8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7" y="317115"/>
            <a:ext cx="1145190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3 Angaben)</a:t>
            </a:r>
          </a:p>
        </p:txBody>
      </p:sp>
    </p:spTree>
    <p:extLst>
      <p:ext uri="{BB962C8B-B14F-4D97-AF65-F5344CB8AC3E}">
        <p14:creationId xmlns:p14="http://schemas.microsoft.com/office/powerpoint/2010/main" val="36567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4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platzhalter 12">
            <a:extLst>
              <a:ext uri="{FF2B5EF4-FFF2-40B4-BE49-F238E27FC236}">
                <a16:creationId xmlns:a16="http://schemas.microsoft.com/office/drawing/2014/main" id="{3DD847EC-9243-47AA-8A79-68BACF9427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2192000" cy="5864333"/>
          </a:xfrm>
          <a:prstGeom prst="rect">
            <a:avLst/>
          </a:prstGeom>
        </p:spPr>
      </p:pic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257BECE9-2212-AD4C-9DDC-270418BA64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75968" y="1870100"/>
            <a:ext cx="4620923" cy="1170142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465387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465387"/>
              <a:gd name="connsiteY0" fmla="*/ 5271 h 1185835"/>
              <a:gd name="connsiteX1" fmla="*/ 3465387 w 3465387"/>
              <a:gd name="connsiteY1" fmla="*/ 0 h 1185835"/>
              <a:gd name="connsiteX2" fmla="*/ 3462212 w 3465387"/>
              <a:gd name="connsiteY2" fmla="*/ 1181227 h 1185835"/>
              <a:gd name="connsiteX3" fmla="*/ 416738 w 3465387"/>
              <a:gd name="connsiteY3" fmla="*/ 1185835 h 1185835"/>
              <a:gd name="connsiteX4" fmla="*/ 0 w 3465387"/>
              <a:gd name="connsiteY4" fmla="*/ 5271 h 1185835"/>
              <a:gd name="connsiteX0" fmla="*/ 0 w 3465692"/>
              <a:gd name="connsiteY0" fmla="*/ 5271 h 1189836"/>
              <a:gd name="connsiteX1" fmla="*/ 3465387 w 3465692"/>
              <a:gd name="connsiteY1" fmla="*/ 0 h 1189836"/>
              <a:gd name="connsiteX2" fmla="*/ 3465387 w 3465692"/>
              <a:gd name="connsiteY2" fmla="*/ 1189836 h 1189836"/>
              <a:gd name="connsiteX3" fmla="*/ 416738 w 3465692"/>
              <a:gd name="connsiteY3" fmla="*/ 1185835 h 1189836"/>
              <a:gd name="connsiteX4" fmla="*/ 0 w 3465692"/>
              <a:gd name="connsiteY4" fmla="*/ 5271 h 1189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5692" h="1189836">
                <a:moveTo>
                  <a:pt x="0" y="5271"/>
                </a:moveTo>
                <a:lnTo>
                  <a:pt x="3465387" y="0"/>
                </a:lnTo>
                <a:cubicBezTo>
                  <a:pt x="3464329" y="393742"/>
                  <a:pt x="3466445" y="796094"/>
                  <a:pt x="3465387" y="1189836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58B2995E-B67E-8C40-8046-5108E851D4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57676" y="3113205"/>
            <a:ext cx="4040549" cy="1166208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5271 h 1185835"/>
              <a:gd name="connsiteX1" fmla="*/ 3030412 w 3916237"/>
              <a:gd name="connsiteY1" fmla="*/ 0 h 1185835"/>
              <a:gd name="connsiteX2" fmla="*/ 3916237 w 3916237"/>
              <a:gd name="connsiteY2" fmla="*/ 1181227 h 1185835"/>
              <a:gd name="connsiteX3" fmla="*/ 416738 w 3916237"/>
              <a:gd name="connsiteY3" fmla="*/ 1185835 h 1185835"/>
              <a:gd name="connsiteX4" fmla="*/ 0 w 3916237"/>
              <a:gd name="connsiteY4" fmla="*/ 5271 h 1185835"/>
              <a:gd name="connsiteX0" fmla="*/ 0 w 3030412"/>
              <a:gd name="connsiteY0" fmla="*/ 5271 h 1185835"/>
              <a:gd name="connsiteX1" fmla="*/ 3030412 w 3030412"/>
              <a:gd name="connsiteY1" fmla="*/ 0 h 1185835"/>
              <a:gd name="connsiteX2" fmla="*/ 3027237 w 3030412"/>
              <a:gd name="connsiteY2" fmla="*/ 1181227 h 1185835"/>
              <a:gd name="connsiteX3" fmla="*/ 416738 w 3030412"/>
              <a:gd name="connsiteY3" fmla="*/ 1185835 h 1185835"/>
              <a:gd name="connsiteX4" fmla="*/ 0 w 3030412"/>
              <a:gd name="connsiteY4" fmla="*/ 5271 h 1185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412" h="1185835">
                <a:moveTo>
                  <a:pt x="0" y="5271"/>
                </a:moveTo>
                <a:lnTo>
                  <a:pt x="3030412" y="0"/>
                </a:lnTo>
                <a:cubicBezTo>
                  <a:pt x="3029354" y="393742"/>
                  <a:pt x="3028295" y="787485"/>
                  <a:pt x="3027237" y="1181227"/>
                </a:cubicBezTo>
                <a:lnTo>
                  <a:pt x="416738" y="1185835"/>
                </a:lnTo>
                <a:lnTo>
                  <a:pt x="0" y="5271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33B1F6F3-7175-2448-BFBB-584C7140D9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9385" y="4344607"/>
            <a:ext cx="3456350" cy="1161975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67 h 1181531"/>
              <a:gd name="connsiteX1" fmla="*/ 2589087 w 3916237"/>
              <a:gd name="connsiteY1" fmla="*/ 0 h 1181531"/>
              <a:gd name="connsiteX2" fmla="*/ 3916237 w 3916237"/>
              <a:gd name="connsiteY2" fmla="*/ 1176923 h 1181531"/>
              <a:gd name="connsiteX3" fmla="*/ 416738 w 3916237"/>
              <a:gd name="connsiteY3" fmla="*/ 1181531 h 1181531"/>
              <a:gd name="connsiteX4" fmla="*/ 0 w 3916237"/>
              <a:gd name="connsiteY4" fmla="*/ 967 h 1181531"/>
              <a:gd name="connsiteX0" fmla="*/ 0 w 2592262"/>
              <a:gd name="connsiteY0" fmla="*/ 967 h 1181531"/>
              <a:gd name="connsiteX1" fmla="*/ 2589087 w 2592262"/>
              <a:gd name="connsiteY1" fmla="*/ 0 h 1181531"/>
              <a:gd name="connsiteX2" fmla="*/ 2592262 w 2592262"/>
              <a:gd name="connsiteY2" fmla="*/ 1181227 h 1181531"/>
              <a:gd name="connsiteX3" fmla="*/ 416738 w 2592262"/>
              <a:gd name="connsiteY3" fmla="*/ 1181531 h 1181531"/>
              <a:gd name="connsiteX4" fmla="*/ 0 w 2592262"/>
              <a:gd name="connsiteY4" fmla="*/ 967 h 1181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2262" h="1181531">
                <a:moveTo>
                  <a:pt x="0" y="967"/>
                </a:moveTo>
                <a:lnTo>
                  <a:pt x="2589087" y="0"/>
                </a:lnTo>
                <a:cubicBezTo>
                  <a:pt x="2590145" y="393742"/>
                  <a:pt x="2591204" y="787485"/>
                  <a:pt x="2592262" y="1181227"/>
                </a:cubicBezTo>
                <a:lnTo>
                  <a:pt x="416738" y="1181531"/>
                </a:lnTo>
                <a:lnTo>
                  <a:pt x="0" y="967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55" name="Textplatzhalter 4">
            <a:extLst>
              <a:ext uri="{FF2B5EF4-FFF2-40B4-BE49-F238E27FC236}">
                <a16:creationId xmlns:a16="http://schemas.microsoft.com/office/drawing/2014/main" id="{B063F175-38CC-42F7-811C-7040E4C21B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33051" y="2466921"/>
            <a:ext cx="3275833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57" name="Textplatzhalter 4">
            <a:extLst>
              <a:ext uri="{FF2B5EF4-FFF2-40B4-BE49-F238E27FC236}">
                <a16:creationId xmlns:a16="http://schemas.microsoft.com/office/drawing/2014/main" id="{40527846-F98C-46C5-8E25-D69AD643D1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1098" y="3695301"/>
            <a:ext cx="2677787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59" name="Textplatzhalter 4">
            <a:extLst>
              <a:ext uri="{FF2B5EF4-FFF2-40B4-BE49-F238E27FC236}">
                <a16:creationId xmlns:a16="http://schemas.microsoft.com/office/drawing/2014/main" id="{06586DCE-E9D8-49C0-ADC2-CF17B03A5E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5387" y="4927344"/>
            <a:ext cx="2093497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B975105-8E39-6F40-9E65-900B15813B3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flipH="1">
            <a:off x="7215518" y="2162600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B272CA78-13D4-3E44-B0ED-ADF0A45666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70352" y="646665"/>
            <a:ext cx="5221649" cy="1170442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416738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30000" tIns="1800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5DEBB228-DA77-344D-A819-40450ED2B5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7793925" y="3369872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A6868CB-9C37-7647-BD03-F48D0DBABD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8386305" y="4623514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006E3972-7262-4D2F-A0D2-E9CC9FDA21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38770" y="1217839"/>
            <a:ext cx="3870113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1D705AF0-DCB7-2D4F-B2F8-2854F8E21A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6602660" y="910106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AD692422-F2F5-42E1-BB8D-97303CC546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40857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4 Angaben)</a:t>
            </a:r>
          </a:p>
        </p:txBody>
      </p:sp>
    </p:spTree>
    <p:extLst>
      <p:ext uri="{BB962C8B-B14F-4D97-AF65-F5344CB8AC3E}">
        <p14:creationId xmlns:p14="http://schemas.microsoft.com/office/powerpoint/2010/main" val="3688909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(5 Angab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platzhalter 12">
            <a:extLst>
              <a:ext uri="{FF2B5EF4-FFF2-40B4-BE49-F238E27FC236}">
                <a16:creationId xmlns:a16="http://schemas.microsoft.com/office/drawing/2014/main" id="{723EC7D5-81FF-4C36-9C0E-9FB48B1715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2192000" cy="5864333"/>
          </a:xfrm>
          <a:prstGeom prst="rect">
            <a:avLst/>
          </a:prstGeom>
        </p:spPr>
      </p:pic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B3E3F257-2EA8-C448-A839-BF9311D7BFF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63263" y="1649891"/>
            <a:ext cx="4740153" cy="91535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3555115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3555115"/>
              <a:gd name="connsiteY0" fmla="*/ 3855 h 1185533"/>
              <a:gd name="connsiteX1" fmla="*/ 3555115 w 3555115"/>
              <a:gd name="connsiteY1" fmla="*/ 0 h 1185533"/>
              <a:gd name="connsiteX2" fmla="*/ 3555115 w 3555115"/>
              <a:gd name="connsiteY2" fmla="*/ 1185533 h 1185533"/>
              <a:gd name="connsiteX3" fmla="*/ 318313 w 3555115"/>
              <a:gd name="connsiteY3" fmla="*/ 1184419 h 1185533"/>
              <a:gd name="connsiteX4" fmla="*/ 0 w 3555115"/>
              <a:gd name="connsiteY4" fmla="*/ 3855 h 118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5115" h="1185533">
                <a:moveTo>
                  <a:pt x="0" y="3855"/>
                </a:moveTo>
                <a:lnTo>
                  <a:pt x="3555115" y="0"/>
                </a:lnTo>
                <a:lnTo>
                  <a:pt x="3555115" y="1185533"/>
                </a:ln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E313362-BA83-6D46-A39B-E7A88FBDCD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28484" y="2632239"/>
            <a:ext cx="4285163" cy="914495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3 h 1184417"/>
              <a:gd name="connsiteX1" fmla="*/ 3213872 w 3916237"/>
              <a:gd name="connsiteY1" fmla="*/ 0 h 1184417"/>
              <a:gd name="connsiteX2" fmla="*/ 3916237 w 3916237"/>
              <a:gd name="connsiteY2" fmla="*/ 1179809 h 1184417"/>
              <a:gd name="connsiteX3" fmla="*/ 318313 w 3916237"/>
              <a:gd name="connsiteY3" fmla="*/ 1184417 h 1184417"/>
              <a:gd name="connsiteX4" fmla="*/ 0 w 3916237"/>
              <a:gd name="connsiteY4" fmla="*/ 3853 h 1184417"/>
              <a:gd name="connsiteX0" fmla="*/ 0 w 3213872"/>
              <a:gd name="connsiteY0" fmla="*/ 3853 h 1184417"/>
              <a:gd name="connsiteX1" fmla="*/ 3213872 w 3213872"/>
              <a:gd name="connsiteY1" fmla="*/ 0 h 1184417"/>
              <a:gd name="connsiteX2" fmla="*/ 3207246 w 3213872"/>
              <a:gd name="connsiteY2" fmla="*/ 1179810 h 1184417"/>
              <a:gd name="connsiteX3" fmla="*/ 318313 w 3213872"/>
              <a:gd name="connsiteY3" fmla="*/ 1184417 h 1184417"/>
              <a:gd name="connsiteX4" fmla="*/ 0 w 3213872"/>
              <a:gd name="connsiteY4" fmla="*/ 3853 h 1184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3872" h="1184417">
                <a:moveTo>
                  <a:pt x="0" y="3853"/>
                </a:moveTo>
                <a:lnTo>
                  <a:pt x="3213872" y="0"/>
                </a:lnTo>
                <a:cubicBezTo>
                  <a:pt x="3211663" y="393270"/>
                  <a:pt x="3209455" y="786540"/>
                  <a:pt x="3207246" y="1179810"/>
                </a:cubicBezTo>
                <a:lnTo>
                  <a:pt x="318313" y="1184417"/>
                </a:lnTo>
                <a:lnTo>
                  <a:pt x="0" y="3853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D19C2651-89E3-6440-9699-C1764DE7C7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01725" y="3613726"/>
            <a:ext cx="3808084" cy="91449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856063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856063"/>
              <a:gd name="connsiteY0" fmla="*/ 3855 h 1184419"/>
              <a:gd name="connsiteX1" fmla="*/ 2856063 w 2856063"/>
              <a:gd name="connsiteY1" fmla="*/ 0 h 1184419"/>
              <a:gd name="connsiteX2" fmla="*/ 2849437 w 2856063"/>
              <a:gd name="connsiteY2" fmla="*/ 1179812 h 1184419"/>
              <a:gd name="connsiteX3" fmla="*/ 318313 w 2856063"/>
              <a:gd name="connsiteY3" fmla="*/ 1184419 h 1184419"/>
              <a:gd name="connsiteX4" fmla="*/ 0 w 2856063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6063" h="1184419">
                <a:moveTo>
                  <a:pt x="0" y="3855"/>
                </a:moveTo>
                <a:lnTo>
                  <a:pt x="2856063" y="0"/>
                </a:lnTo>
                <a:cubicBezTo>
                  <a:pt x="2853854" y="393271"/>
                  <a:pt x="2851646" y="786541"/>
                  <a:pt x="2849437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48A88F9C-03FE-F54F-94D0-1CDBAB5377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74967" y="4595215"/>
            <a:ext cx="3331005" cy="914496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3855 h 1184419"/>
              <a:gd name="connsiteX1" fmla="*/ 2498254 w 3916237"/>
              <a:gd name="connsiteY1" fmla="*/ 0 h 1184419"/>
              <a:gd name="connsiteX2" fmla="*/ 3916237 w 3916237"/>
              <a:gd name="connsiteY2" fmla="*/ 1179811 h 1184419"/>
              <a:gd name="connsiteX3" fmla="*/ 318313 w 3916237"/>
              <a:gd name="connsiteY3" fmla="*/ 1184419 h 1184419"/>
              <a:gd name="connsiteX4" fmla="*/ 0 w 3916237"/>
              <a:gd name="connsiteY4" fmla="*/ 3855 h 1184419"/>
              <a:gd name="connsiteX0" fmla="*/ 0 w 2498254"/>
              <a:gd name="connsiteY0" fmla="*/ 3855 h 1184419"/>
              <a:gd name="connsiteX1" fmla="*/ 2498254 w 2498254"/>
              <a:gd name="connsiteY1" fmla="*/ 0 h 1184419"/>
              <a:gd name="connsiteX2" fmla="*/ 2494941 w 2498254"/>
              <a:gd name="connsiteY2" fmla="*/ 1179812 h 1184419"/>
              <a:gd name="connsiteX3" fmla="*/ 318313 w 2498254"/>
              <a:gd name="connsiteY3" fmla="*/ 1184419 h 1184419"/>
              <a:gd name="connsiteX4" fmla="*/ 0 w 2498254"/>
              <a:gd name="connsiteY4" fmla="*/ 3855 h 1184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254" h="1184419">
                <a:moveTo>
                  <a:pt x="0" y="3855"/>
                </a:moveTo>
                <a:lnTo>
                  <a:pt x="2498254" y="0"/>
                </a:lnTo>
                <a:cubicBezTo>
                  <a:pt x="2497150" y="393271"/>
                  <a:pt x="2496045" y="786541"/>
                  <a:pt x="2494941" y="1179812"/>
                </a:cubicBezTo>
                <a:lnTo>
                  <a:pt x="318313" y="1184419"/>
                </a:lnTo>
                <a:lnTo>
                  <a:pt x="0" y="3855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74619461-DCE2-E04D-B213-E2C2057F35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76916" y="663986"/>
            <a:ext cx="5221649" cy="918913"/>
          </a:xfrm>
          <a:custGeom>
            <a:avLst/>
            <a:gdLst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0 w 3940175"/>
              <a:gd name="connsiteY3" fmla="*/ 1185532 h 1185532"/>
              <a:gd name="connsiteX4" fmla="*/ 0 w 3940175"/>
              <a:gd name="connsiteY4" fmla="*/ 0 h 1185532"/>
              <a:gd name="connsiteX0" fmla="*/ 0 w 3940175"/>
              <a:gd name="connsiteY0" fmla="*/ 0 h 1185532"/>
              <a:gd name="connsiteX1" fmla="*/ 3940175 w 3940175"/>
              <a:gd name="connsiteY1" fmla="*/ 0 h 1185532"/>
              <a:gd name="connsiteX2" fmla="*/ 3940175 w 3940175"/>
              <a:gd name="connsiteY2" fmla="*/ 1185532 h 1185532"/>
              <a:gd name="connsiteX3" fmla="*/ 593642 w 3940175"/>
              <a:gd name="connsiteY3" fmla="*/ 1185532 h 1185532"/>
              <a:gd name="connsiteX4" fmla="*/ 0 w 3940175"/>
              <a:gd name="connsiteY4" fmla="*/ 0 h 1185532"/>
              <a:gd name="connsiteX0" fmla="*/ 0 w 3916237"/>
              <a:gd name="connsiteY0" fmla="*/ 4788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4788 h 1185532"/>
              <a:gd name="connsiteX0" fmla="*/ 0 w 3916237"/>
              <a:gd name="connsiteY0" fmla="*/ 9576 h 1185532"/>
              <a:gd name="connsiteX1" fmla="*/ 3916237 w 3916237"/>
              <a:gd name="connsiteY1" fmla="*/ 0 h 1185532"/>
              <a:gd name="connsiteX2" fmla="*/ 3916237 w 3916237"/>
              <a:gd name="connsiteY2" fmla="*/ 1185532 h 1185532"/>
              <a:gd name="connsiteX3" fmla="*/ 569704 w 3916237"/>
              <a:gd name="connsiteY3" fmla="*/ 1185532 h 1185532"/>
              <a:gd name="connsiteX4" fmla="*/ 0 w 3916237"/>
              <a:gd name="connsiteY4" fmla="*/ 9576 h 1185532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416738 w 3916237"/>
              <a:gd name="connsiteY3" fmla="*/ 1190140 h 1190140"/>
              <a:gd name="connsiteX4" fmla="*/ 0 w 3916237"/>
              <a:gd name="connsiteY4" fmla="*/ 9576 h 1190140"/>
              <a:gd name="connsiteX0" fmla="*/ 0 w 3916237"/>
              <a:gd name="connsiteY0" fmla="*/ 9576 h 1190140"/>
              <a:gd name="connsiteX1" fmla="*/ 3916237 w 3916237"/>
              <a:gd name="connsiteY1" fmla="*/ 0 h 1190140"/>
              <a:gd name="connsiteX2" fmla="*/ 3916237 w 3916237"/>
              <a:gd name="connsiteY2" fmla="*/ 1185532 h 1190140"/>
              <a:gd name="connsiteX3" fmla="*/ 318313 w 3916237"/>
              <a:gd name="connsiteY3" fmla="*/ 1190140 h 1190140"/>
              <a:gd name="connsiteX4" fmla="*/ 0 w 3916237"/>
              <a:gd name="connsiteY4" fmla="*/ 9576 h 1190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6237" h="1190140">
                <a:moveTo>
                  <a:pt x="0" y="9576"/>
                </a:moveTo>
                <a:lnTo>
                  <a:pt x="3916237" y="0"/>
                </a:lnTo>
                <a:lnTo>
                  <a:pt x="3916237" y="1185532"/>
                </a:lnTo>
                <a:lnTo>
                  <a:pt x="318313" y="1190140"/>
                </a:lnTo>
                <a:lnTo>
                  <a:pt x="0" y="9576"/>
                </a:lnTo>
                <a:close/>
              </a:path>
            </a:pathLst>
          </a:custGeom>
          <a:solidFill>
            <a:schemeClr val="tx1">
              <a:alpha val="35000"/>
            </a:schemeClr>
          </a:solidFill>
        </p:spPr>
        <p:txBody>
          <a:bodyPr lIns="615600" tIns="97200" rIns="0"/>
          <a:lstStyle>
            <a:lvl1pPr marL="0" indent="0">
              <a:buNone/>
              <a:defRPr sz="2158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Agendapunkt</a:t>
            </a:r>
            <a:endParaRPr lang="de-DE"/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6AEF2793-1135-403E-AEF2-D90DD5856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37666" y="1120030"/>
            <a:ext cx="387778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78597FC3-952A-B54E-A1FD-86E19ACA24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6549130" y="82550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8FCC801-B420-1F43-82AF-DE532C2DA72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7042872" y="180259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2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EAFF4431-34B1-F448-9684-AD20DD037C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flipH="1">
            <a:off x="7505062" y="2789473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3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9A14905C-BDDA-BB49-9EC4-96122F715A2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flipH="1">
            <a:off x="7979290" y="3774111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4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2368D683-1F7A-6D49-B62C-ED5726BFCD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8461459" y="4759114"/>
            <a:ext cx="1035435" cy="615465"/>
          </a:xfrm>
          <a:custGeom>
            <a:avLst/>
            <a:gdLst>
              <a:gd name="connsiteX0" fmla="*/ 0 w 897873"/>
              <a:gd name="connsiteY0" fmla="*/ 450460 h 450460"/>
              <a:gd name="connsiteX1" fmla="*/ 112615 w 897873"/>
              <a:gd name="connsiteY1" fmla="*/ 0 h 450460"/>
              <a:gd name="connsiteX2" fmla="*/ 897873 w 897873"/>
              <a:gd name="connsiteY2" fmla="*/ 0 h 450460"/>
              <a:gd name="connsiteX3" fmla="*/ 785258 w 897873"/>
              <a:gd name="connsiteY3" fmla="*/ 450460 h 450460"/>
              <a:gd name="connsiteX4" fmla="*/ 0 w 897873"/>
              <a:gd name="connsiteY4" fmla="*/ 450460 h 450460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890582 w 1003197"/>
              <a:gd name="connsiteY3" fmla="*/ 450460 h 455248"/>
              <a:gd name="connsiteX4" fmla="*/ 0 w 1003197"/>
              <a:gd name="connsiteY4" fmla="*/ 455248 h 455248"/>
              <a:gd name="connsiteX0" fmla="*/ 0 w 1003197"/>
              <a:gd name="connsiteY0" fmla="*/ 455248 h 455248"/>
              <a:gd name="connsiteX1" fmla="*/ 217939 w 1003197"/>
              <a:gd name="connsiteY1" fmla="*/ 0 h 455248"/>
              <a:gd name="connsiteX2" fmla="*/ 1003197 w 1003197"/>
              <a:gd name="connsiteY2" fmla="*/ 0 h 455248"/>
              <a:gd name="connsiteX3" fmla="*/ 670360 w 1003197"/>
              <a:gd name="connsiteY3" fmla="*/ 450460 h 455248"/>
              <a:gd name="connsiteX4" fmla="*/ 0 w 1003197"/>
              <a:gd name="connsiteY4" fmla="*/ 455248 h 455248"/>
              <a:gd name="connsiteX0" fmla="*/ 0 w 854787"/>
              <a:gd name="connsiteY0" fmla="*/ 460035 h 460035"/>
              <a:gd name="connsiteX1" fmla="*/ 217939 w 854787"/>
              <a:gd name="connsiteY1" fmla="*/ 4787 h 460035"/>
              <a:gd name="connsiteX2" fmla="*/ 854787 w 854787"/>
              <a:gd name="connsiteY2" fmla="*/ 0 h 460035"/>
              <a:gd name="connsiteX3" fmla="*/ 670360 w 854787"/>
              <a:gd name="connsiteY3" fmla="*/ 455247 h 460035"/>
              <a:gd name="connsiteX4" fmla="*/ 0 w 854787"/>
              <a:gd name="connsiteY4" fmla="*/ 460035 h 460035"/>
              <a:gd name="connsiteX0" fmla="*/ 0 w 711164"/>
              <a:gd name="connsiteY0" fmla="*/ 460035 h 460035"/>
              <a:gd name="connsiteX1" fmla="*/ 217939 w 711164"/>
              <a:gd name="connsiteY1" fmla="*/ 4787 h 460035"/>
              <a:gd name="connsiteX2" fmla="*/ 711164 w 711164"/>
              <a:gd name="connsiteY2" fmla="*/ 0 h 460035"/>
              <a:gd name="connsiteX3" fmla="*/ 670360 w 711164"/>
              <a:gd name="connsiteY3" fmla="*/ 455247 h 460035"/>
              <a:gd name="connsiteX4" fmla="*/ 0 w 711164"/>
              <a:gd name="connsiteY4" fmla="*/ 460035 h 460035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670360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411839 w 773401"/>
              <a:gd name="connsiteY3" fmla="*/ 445673 h 455248"/>
              <a:gd name="connsiteX4" fmla="*/ 0 w 773401"/>
              <a:gd name="connsiteY4" fmla="*/ 455248 h 455248"/>
              <a:gd name="connsiteX0" fmla="*/ 0 w 773401"/>
              <a:gd name="connsiteY0" fmla="*/ 455248 h 455248"/>
              <a:gd name="connsiteX1" fmla="*/ 217939 w 773401"/>
              <a:gd name="connsiteY1" fmla="*/ 0 h 455248"/>
              <a:gd name="connsiteX2" fmla="*/ 773401 w 773401"/>
              <a:gd name="connsiteY2" fmla="*/ 0 h 455248"/>
              <a:gd name="connsiteX3" fmla="*/ 545888 w 773401"/>
              <a:gd name="connsiteY3" fmla="*/ 450460 h 455248"/>
              <a:gd name="connsiteX4" fmla="*/ 0 w 773401"/>
              <a:gd name="connsiteY4" fmla="*/ 455248 h 455248"/>
              <a:gd name="connsiteX0" fmla="*/ 0 w 773401"/>
              <a:gd name="connsiteY0" fmla="*/ 455248 h 459985"/>
              <a:gd name="connsiteX1" fmla="*/ 217939 w 773401"/>
              <a:gd name="connsiteY1" fmla="*/ 0 h 459985"/>
              <a:gd name="connsiteX2" fmla="*/ 773401 w 773401"/>
              <a:gd name="connsiteY2" fmla="*/ 0 h 459985"/>
              <a:gd name="connsiteX3" fmla="*/ 545888 w 773401"/>
              <a:gd name="connsiteY3" fmla="*/ 459985 h 459985"/>
              <a:gd name="connsiteX4" fmla="*/ 0 w 773401"/>
              <a:gd name="connsiteY4" fmla="*/ 455248 h 459985"/>
              <a:gd name="connsiteX0" fmla="*/ 0 w 776576"/>
              <a:gd name="connsiteY0" fmla="*/ 461598 h 461598"/>
              <a:gd name="connsiteX1" fmla="*/ 221114 w 776576"/>
              <a:gd name="connsiteY1" fmla="*/ 0 h 461598"/>
              <a:gd name="connsiteX2" fmla="*/ 776576 w 776576"/>
              <a:gd name="connsiteY2" fmla="*/ 0 h 461598"/>
              <a:gd name="connsiteX3" fmla="*/ 549063 w 776576"/>
              <a:gd name="connsiteY3" fmla="*/ 459985 h 461598"/>
              <a:gd name="connsiteX4" fmla="*/ 0 w 776576"/>
              <a:gd name="connsiteY4" fmla="*/ 461598 h 46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576" h="461598">
                <a:moveTo>
                  <a:pt x="0" y="461598"/>
                </a:moveTo>
                <a:lnTo>
                  <a:pt x="221114" y="0"/>
                </a:lnTo>
                <a:lnTo>
                  <a:pt x="776576" y="0"/>
                </a:lnTo>
                <a:lnTo>
                  <a:pt x="549063" y="459985"/>
                </a:lnTo>
                <a:lnTo>
                  <a:pt x="0" y="461598"/>
                </a:lnTo>
                <a:close/>
              </a:path>
            </a:pathLst>
          </a:custGeom>
          <a:solidFill>
            <a:schemeClr val="bg1"/>
          </a:solidFill>
        </p:spPr>
        <p:txBody>
          <a:bodyPr tIns="108000" anchor="ctr"/>
          <a:lstStyle>
            <a:lvl1pPr marL="0" indent="0" algn="ctr">
              <a:buNone/>
              <a:defRPr sz="3356" b="1">
                <a:solidFill>
                  <a:srgbClr val="DAD9DE"/>
                </a:solidFill>
              </a:defRPr>
            </a:lvl1pPr>
          </a:lstStyle>
          <a:p>
            <a:pPr lvl="0"/>
            <a:r>
              <a:rPr lang="de-DE"/>
              <a:t>5</a:t>
            </a:r>
          </a:p>
        </p:txBody>
      </p:sp>
      <p:sp>
        <p:nvSpPr>
          <p:cNvPr id="64" name="Textplatzhalter 4">
            <a:extLst>
              <a:ext uri="{FF2B5EF4-FFF2-40B4-BE49-F238E27FC236}">
                <a16:creationId xmlns:a16="http://schemas.microsoft.com/office/drawing/2014/main" id="{3636E4F0-72FA-4FE7-B519-DD15D6FE36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41378" y="5061928"/>
            <a:ext cx="1974070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62B35A94-04B8-44D6-A896-AB846A110C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65966" y="4081844"/>
            <a:ext cx="2449482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60" name="Textplatzhalter 4">
            <a:extLst>
              <a:ext uri="{FF2B5EF4-FFF2-40B4-BE49-F238E27FC236}">
                <a16:creationId xmlns:a16="http://schemas.microsoft.com/office/drawing/2014/main" id="{577EC97F-9199-450F-B723-7DF7F6966C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89282" y="3090547"/>
            <a:ext cx="2926169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6A1EB573-FCA9-403D-A524-B4D70FA091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159" y="2115483"/>
            <a:ext cx="3391290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58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de-DE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5CF8AA7-E869-419A-B46F-1E730BB57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7" y="317115"/>
            <a:ext cx="11447422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Agenda (5 Angaben)</a:t>
            </a:r>
          </a:p>
        </p:txBody>
      </p:sp>
    </p:spTree>
    <p:extLst>
      <p:ext uri="{BB962C8B-B14F-4D97-AF65-F5344CB8AC3E}">
        <p14:creationId xmlns:p14="http://schemas.microsoft.com/office/powerpoint/2010/main" val="208243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FC2ED5B2-8DFC-4864-8442-56CA06BC5DA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326516A-14A4-46D3-A41A-CBB211073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6BE146A5-BAF4-4054-A6FC-9A94B206CF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6" y="1348031"/>
            <a:ext cx="10606868" cy="4158067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38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1438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7352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3-spaltig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684515A0-3ACC-4DA7-A19D-253E613CEB33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81C53425-D1A6-CE46-8218-C0A917931F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7" y="1351906"/>
            <a:ext cx="3308320" cy="41607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26477505-A953-B844-8FB2-CC7BD3DF14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08768" y="1351906"/>
            <a:ext cx="3301996" cy="41607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7ECD1E9-E7D9-9C40-AEAB-DADAC219A3A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57997" y="1351906"/>
            <a:ext cx="3301996" cy="41607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E601254-2DA0-43E9-8C80-21125334B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0056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(2/3) &amp; Bild (1/3)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3244A2E-D85A-40DD-98A7-1B8A6E09FC3C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B5A2B65-74F1-44AE-8E33-6265B32D3E0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52058" y="1013461"/>
            <a:ext cx="3639942" cy="483488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3189A53-14DB-9241-B9EB-420EEED582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2976" y="1351904"/>
            <a:ext cx="6958118" cy="416075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55FCE44-58E2-4CDF-AACD-0DA32797D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73946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9642DB76-9735-470F-ADCC-DDF4E2D6A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37086" y="1016000"/>
            <a:ext cx="6757779" cy="2992168"/>
          </a:xfrm>
          <a:custGeom>
            <a:avLst/>
            <a:gdLst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0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69298 w 5063169"/>
              <a:gd name="connsiteY3" fmla="*/ 2241550 h 2241550"/>
              <a:gd name="connsiteX4" fmla="*/ 0 w 5063169"/>
              <a:gd name="connsiteY4" fmla="*/ 0 h 2241550"/>
              <a:gd name="connsiteX0" fmla="*/ 0 w 5063169"/>
              <a:gd name="connsiteY0" fmla="*/ 0 h 2241550"/>
              <a:gd name="connsiteX1" fmla="*/ 5063169 w 5063169"/>
              <a:gd name="connsiteY1" fmla="*/ 0 h 2241550"/>
              <a:gd name="connsiteX2" fmla="*/ 5063169 w 5063169"/>
              <a:gd name="connsiteY2" fmla="*/ 2241550 h 2241550"/>
              <a:gd name="connsiteX3" fmla="*/ 1071679 w 5063169"/>
              <a:gd name="connsiteY3" fmla="*/ 2241550 h 2241550"/>
              <a:gd name="connsiteX4" fmla="*/ 0 w 5063169"/>
              <a:gd name="connsiteY4" fmla="*/ 0 h 2241550"/>
              <a:gd name="connsiteX0" fmla="*/ 0 w 5072694"/>
              <a:gd name="connsiteY0" fmla="*/ 0 h 2241550"/>
              <a:gd name="connsiteX1" fmla="*/ 5063169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2694"/>
              <a:gd name="connsiteY0" fmla="*/ 0 h 2241550"/>
              <a:gd name="connsiteX1" fmla="*/ 5070313 w 5072694"/>
              <a:gd name="connsiteY1" fmla="*/ 0 h 2241550"/>
              <a:gd name="connsiteX2" fmla="*/ 5072694 w 5072694"/>
              <a:gd name="connsiteY2" fmla="*/ 2241550 h 2241550"/>
              <a:gd name="connsiteX3" fmla="*/ 1071679 w 5072694"/>
              <a:gd name="connsiteY3" fmla="*/ 2241550 h 2241550"/>
              <a:gd name="connsiteX4" fmla="*/ 0 w 5072694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1679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1550"/>
              <a:gd name="connsiteX1" fmla="*/ 5072889 w 5073097"/>
              <a:gd name="connsiteY1" fmla="*/ 0 h 2241550"/>
              <a:gd name="connsiteX2" fmla="*/ 5072694 w 5073097"/>
              <a:gd name="connsiteY2" fmla="*/ 2241550 h 2241550"/>
              <a:gd name="connsiteX3" fmla="*/ 1074255 w 5073097"/>
              <a:gd name="connsiteY3" fmla="*/ 2241550 h 2241550"/>
              <a:gd name="connsiteX4" fmla="*/ 0 w 5073097"/>
              <a:gd name="connsiteY4" fmla="*/ 0 h 2241550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9406 w 5073097"/>
              <a:gd name="connsiteY3" fmla="*/ 2244126 h 2244126"/>
              <a:gd name="connsiteX4" fmla="*/ 0 w 5073097"/>
              <a:gd name="connsiteY4" fmla="*/ 0 h 2244126"/>
              <a:gd name="connsiteX0" fmla="*/ 0 w 5073097"/>
              <a:gd name="connsiteY0" fmla="*/ 0 h 2244126"/>
              <a:gd name="connsiteX1" fmla="*/ 5072889 w 5073097"/>
              <a:gd name="connsiteY1" fmla="*/ 0 h 2244126"/>
              <a:gd name="connsiteX2" fmla="*/ 5072694 w 5073097"/>
              <a:gd name="connsiteY2" fmla="*/ 2241550 h 2244126"/>
              <a:gd name="connsiteX3" fmla="*/ 1076831 w 5073097"/>
              <a:gd name="connsiteY3" fmla="*/ 2244126 h 2244126"/>
              <a:gd name="connsiteX4" fmla="*/ 0 w 5073097"/>
              <a:gd name="connsiteY4" fmla="*/ 0 h 2244126"/>
              <a:gd name="connsiteX0" fmla="*/ 0 w 5068334"/>
              <a:gd name="connsiteY0" fmla="*/ 0 h 2244126"/>
              <a:gd name="connsiteX1" fmla="*/ 5068126 w 5068334"/>
              <a:gd name="connsiteY1" fmla="*/ 0 h 2244126"/>
              <a:gd name="connsiteX2" fmla="*/ 5067931 w 5068334"/>
              <a:gd name="connsiteY2" fmla="*/ 2241550 h 2244126"/>
              <a:gd name="connsiteX3" fmla="*/ 1072068 w 5068334"/>
              <a:gd name="connsiteY3" fmla="*/ 2244126 h 2244126"/>
              <a:gd name="connsiteX4" fmla="*/ 0 w 5068334"/>
              <a:gd name="connsiteY4" fmla="*/ 0 h 2244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8334" h="2244126">
                <a:moveTo>
                  <a:pt x="0" y="0"/>
                </a:moveTo>
                <a:lnTo>
                  <a:pt x="5068126" y="0"/>
                </a:lnTo>
                <a:cubicBezTo>
                  <a:pt x="5068920" y="747183"/>
                  <a:pt x="5067137" y="1494367"/>
                  <a:pt x="5067931" y="2241550"/>
                </a:cubicBezTo>
                <a:lnTo>
                  <a:pt x="1072068" y="224412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Parallelogramm 20">
            <a:extLst>
              <a:ext uri="{FF2B5EF4-FFF2-40B4-BE49-F238E27FC236}">
                <a16:creationId xmlns:a16="http://schemas.microsoft.com/office/drawing/2014/main" id="{D83CB403-1553-478D-B0B0-B83B50C255D1}"/>
              </a:ext>
            </a:extLst>
          </p:cNvPr>
          <p:cNvSpPr/>
          <p:nvPr userDrawn="1"/>
        </p:nvSpPr>
        <p:spPr>
          <a:xfrm flipH="1">
            <a:off x="6863273" y="4001190"/>
            <a:ext cx="5330674" cy="1847155"/>
          </a:xfrm>
          <a:custGeom>
            <a:avLst/>
            <a:gdLst>
              <a:gd name="connsiteX0" fmla="*/ 0 w 3996545"/>
              <a:gd name="connsiteY0" fmla="*/ 1382714 h 1382714"/>
              <a:gd name="connsiteX1" fmla="*/ 660605 w 3996545"/>
              <a:gd name="connsiteY1" fmla="*/ 0 h 1382714"/>
              <a:gd name="connsiteX2" fmla="*/ 3996545 w 3996545"/>
              <a:gd name="connsiteY2" fmla="*/ 0 h 1382714"/>
              <a:gd name="connsiteX3" fmla="*/ 3335940 w 3996545"/>
              <a:gd name="connsiteY3" fmla="*/ 1382714 h 1382714"/>
              <a:gd name="connsiteX4" fmla="*/ 0 w 399654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14 h 1382714"/>
              <a:gd name="connsiteX1" fmla="*/ 0 w 3998005"/>
              <a:gd name="connsiteY1" fmla="*/ 2499 h 1382714"/>
              <a:gd name="connsiteX2" fmla="*/ 3998005 w 3998005"/>
              <a:gd name="connsiteY2" fmla="*/ 0 h 1382714"/>
              <a:gd name="connsiteX3" fmla="*/ 3337400 w 3998005"/>
              <a:gd name="connsiteY3" fmla="*/ 1382714 h 1382714"/>
              <a:gd name="connsiteX4" fmla="*/ 1460 w 3998005"/>
              <a:gd name="connsiteY4" fmla="*/ 1382714 h 1382714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7 h 1385367"/>
              <a:gd name="connsiteX1" fmla="*/ 0 w 3998005"/>
              <a:gd name="connsiteY1" fmla="*/ 0 h 1385367"/>
              <a:gd name="connsiteX2" fmla="*/ 3998005 w 3998005"/>
              <a:gd name="connsiteY2" fmla="*/ 2653 h 1385367"/>
              <a:gd name="connsiteX3" fmla="*/ 3337400 w 3998005"/>
              <a:gd name="connsiteY3" fmla="*/ 1385367 h 1385367"/>
              <a:gd name="connsiteX4" fmla="*/ 1460 w 3998005"/>
              <a:gd name="connsiteY4" fmla="*/ 1385367 h 1385367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2791 h 1382791"/>
              <a:gd name="connsiteX1" fmla="*/ 0 w 3998005"/>
              <a:gd name="connsiteY1" fmla="*/ 0 h 1382791"/>
              <a:gd name="connsiteX2" fmla="*/ 3998005 w 3998005"/>
              <a:gd name="connsiteY2" fmla="*/ 77 h 1382791"/>
              <a:gd name="connsiteX3" fmla="*/ 3337400 w 3998005"/>
              <a:gd name="connsiteY3" fmla="*/ 1382791 h 1382791"/>
              <a:gd name="connsiteX4" fmla="*/ 1460 w 3998005"/>
              <a:gd name="connsiteY4" fmla="*/ 1382791 h 1382791"/>
              <a:gd name="connsiteX0" fmla="*/ 1460 w 3998005"/>
              <a:gd name="connsiteY0" fmla="*/ 1385366 h 1385366"/>
              <a:gd name="connsiteX1" fmla="*/ 0 w 3998005"/>
              <a:gd name="connsiteY1" fmla="*/ 0 h 1385366"/>
              <a:gd name="connsiteX2" fmla="*/ 3998005 w 3998005"/>
              <a:gd name="connsiteY2" fmla="*/ 2652 h 1385366"/>
              <a:gd name="connsiteX3" fmla="*/ 3337400 w 3998005"/>
              <a:gd name="connsiteY3" fmla="*/ 1385366 h 1385366"/>
              <a:gd name="connsiteX4" fmla="*/ 1460 w 3998005"/>
              <a:gd name="connsiteY4" fmla="*/ 1385366 h 1385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98005" h="1385366">
                <a:moveTo>
                  <a:pt x="1460" y="1385366"/>
                </a:moveTo>
                <a:cubicBezTo>
                  <a:pt x="973" y="925294"/>
                  <a:pt x="487" y="460072"/>
                  <a:pt x="0" y="0"/>
                </a:cubicBezTo>
                <a:lnTo>
                  <a:pt x="3998005" y="2652"/>
                </a:lnTo>
                <a:lnTo>
                  <a:pt x="3337400" y="1385366"/>
                </a:lnTo>
                <a:lnTo>
                  <a:pt x="1460" y="138536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E2B3A810-C844-4418-AF20-CD01E7DF013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5" y="1016001"/>
            <a:ext cx="5868174" cy="2988733"/>
          </a:xfrm>
          <a:custGeom>
            <a:avLst/>
            <a:gdLst>
              <a:gd name="connsiteX0" fmla="*/ 0 w 4401131"/>
              <a:gd name="connsiteY0" fmla="*/ 0 h 2241550"/>
              <a:gd name="connsiteX1" fmla="*/ 4401131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  <a:gd name="connsiteX0" fmla="*/ 0 w 4401131"/>
              <a:gd name="connsiteY0" fmla="*/ 0 h 2241550"/>
              <a:gd name="connsiteX1" fmla="*/ 3334775 w 4401131"/>
              <a:gd name="connsiteY1" fmla="*/ 0 h 2241550"/>
              <a:gd name="connsiteX2" fmla="*/ 4401131 w 4401131"/>
              <a:gd name="connsiteY2" fmla="*/ 2241550 h 2241550"/>
              <a:gd name="connsiteX3" fmla="*/ 0 w 4401131"/>
              <a:gd name="connsiteY3" fmla="*/ 2241550 h 2241550"/>
              <a:gd name="connsiteX4" fmla="*/ 0 w 4401131"/>
              <a:gd name="connsiteY4" fmla="*/ 0 h 2241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1131" h="2241550">
                <a:moveTo>
                  <a:pt x="0" y="0"/>
                </a:moveTo>
                <a:lnTo>
                  <a:pt x="3334775" y="0"/>
                </a:lnTo>
                <a:lnTo>
                  <a:pt x="4401131" y="2241550"/>
                </a:lnTo>
                <a:lnTo>
                  <a:pt x="0" y="224155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Parallelogramm 19">
            <a:extLst>
              <a:ext uri="{FF2B5EF4-FFF2-40B4-BE49-F238E27FC236}">
                <a16:creationId xmlns:a16="http://schemas.microsoft.com/office/drawing/2014/main" id="{05F37096-C0B7-49A6-9DDE-C38BDC558E57}"/>
              </a:ext>
            </a:extLst>
          </p:cNvPr>
          <p:cNvSpPr/>
          <p:nvPr userDrawn="1"/>
        </p:nvSpPr>
        <p:spPr>
          <a:xfrm flipH="1">
            <a:off x="918634" y="4004733"/>
            <a:ext cx="6753213" cy="1843618"/>
          </a:xfrm>
          <a:custGeom>
            <a:avLst/>
            <a:gdLst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4409067 w 5069672"/>
              <a:gd name="connsiteY3" fmla="*/ 1382713 h 1382713"/>
              <a:gd name="connsiteX4" fmla="*/ 0 w 5069672"/>
              <a:gd name="connsiteY4" fmla="*/ 1382713 h 1382713"/>
              <a:gd name="connsiteX0" fmla="*/ 0 w 5069672"/>
              <a:gd name="connsiteY0" fmla="*/ 1382713 h 1382713"/>
              <a:gd name="connsiteX1" fmla="*/ 660605 w 5069672"/>
              <a:gd name="connsiteY1" fmla="*/ 0 h 1382713"/>
              <a:gd name="connsiteX2" fmla="*/ 5069672 w 5069672"/>
              <a:gd name="connsiteY2" fmla="*/ 0 h 1382713"/>
              <a:gd name="connsiteX3" fmla="*/ 5063911 w 5069672"/>
              <a:gd name="connsiteY3" fmla="*/ 1380332 h 1382713"/>
              <a:gd name="connsiteX4" fmla="*/ 0 w 5069672"/>
              <a:gd name="connsiteY4" fmla="*/ 1382713 h 1382713"/>
              <a:gd name="connsiteX0" fmla="*/ 0 w 5064910"/>
              <a:gd name="connsiteY0" fmla="*/ 1382713 h 1382713"/>
              <a:gd name="connsiteX1" fmla="*/ 660605 w 5064910"/>
              <a:gd name="connsiteY1" fmla="*/ 0 h 1382713"/>
              <a:gd name="connsiteX2" fmla="*/ 5064910 w 5064910"/>
              <a:gd name="connsiteY2" fmla="*/ 0 h 1382713"/>
              <a:gd name="connsiteX3" fmla="*/ 5063911 w 5064910"/>
              <a:gd name="connsiteY3" fmla="*/ 1380332 h 1382713"/>
              <a:gd name="connsiteX4" fmla="*/ 0 w 5064910"/>
              <a:gd name="connsiteY4" fmla="*/ 1382713 h 138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4910" h="1382713">
                <a:moveTo>
                  <a:pt x="0" y="1382713"/>
                </a:moveTo>
                <a:lnTo>
                  <a:pt x="660605" y="0"/>
                </a:lnTo>
                <a:lnTo>
                  <a:pt x="5064910" y="0"/>
                </a:lnTo>
                <a:cubicBezTo>
                  <a:pt x="5062990" y="460111"/>
                  <a:pt x="5065831" y="920221"/>
                  <a:pt x="5063911" y="1380332"/>
                </a:cubicBezTo>
                <a:lnTo>
                  <a:pt x="0" y="138271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FBCD15C0-0903-4F0D-B02A-624F6D64B5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52053" y="4370717"/>
            <a:ext cx="5474765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3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1" name="Textplatzhalter 26">
            <a:extLst>
              <a:ext uri="{FF2B5EF4-FFF2-40B4-BE49-F238E27FC236}">
                <a16:creationId xmlns:a16="http://schemas.microsoft.com/office/drawing/2014/main" id="{EBB16E9B-0BFA-4147-BF9B-1621103B63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83577" y="4370717"/>
            <a:ext cx="4262888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3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CF1CE939-EDBF-4C40-819A-43D37F2B5C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52055" y="4681354"/>
            <a:ext cx="5474763" cy="831306"/>
          </a:xfrm>
          <a:prstGeom prst="rect">
            <a:avLst/>
          </a:prstGeom>
        </p:spPr>
        <p:txBody>
          <a:bodyPr lIns="0" tIns="0" rIns="0" bIns="0"/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0" name="Textplatzhalter 35">
            <a:extLst>
              <a:ext uri="{FF2B5EF4-FFF2-40B4-BE49-F238E27FC236}">
                <a16:creationId xmlns:a16="http://schemas.microsoft.com/office/drawing/2014/main" id="{CEBC62FB-9854-48A6-A95F-B64B2E209F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35637" y="4681354"/>
            <a:ext cx="4119080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35">
            <a:extLst>
              <a:ext uri="{FF2B5EF4-FFF2-40B4-BE49-F238E27FC236}">
                <a16:creationId xmlns:a16="http://schemas.microsoft.com/office/drawing/2014/main" id="{7F10253B-7E90-4D23-B119-099955D9B9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63387" y="4995408"/>
            <a:ext cx="3989893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35">
            <a:extLst>
              <a:ext uri="{FF2B5EF4-FFF2-40B4-BE49-F238E27FC236}">
                <a16:creationId xmlns:a16="http://schemas.microsoft.com/office/drawing/2014/main" id="{94C82AD6-A493-4748-9178-9562D5DD6F1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30910" y="5299340"/>
            <a:ext cx="3820485" cy="2213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9A72B995-0D23-455A-8266-D696BCC16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27803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04">
          <p15:clr>
            <a:srgbClr val="FBAE40"/>
          </p15:clr>
        </p15:guide>
        <p15:guide id="2" orient="horz" pos="229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858280BA-5DAF-4239-8C96-0E00F2969D39}"/>
              </a:ext>
            </a:extLst>
          </p:cNvPr>
          <p:cNvSpPr/>
          <p:nvPr userDrawn="1"/>
        </p:nvSpPr>
        <p:spPr>
          <a:xfrm>
            <a:off x="2734734" y="1009649"/>
            <a:ext cx="3750412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7" name="Textplatzhalter 26">
            <a:extLst>
              <a:ext uri="{FF2B5EF4-FFF2-40B4-BE49-F238E27FC236}">
                <a16:creationId xmlns:a16="http://schemas.microsoft.com/office/drawing/2014/main" id="{5320B77E-2B58-4BE6-82A4-68EE846607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0445" y="1725668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CE06CBF7-8546-4EEE-A38E-7DF26CFD9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80443" y="2097885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C9D460D-EDA8-483E-B4D3-69922B442037}"/>
              </a:ext>
            </a:extLst>
          </p:cNvPr>
          <p:cNvSpPr/>
          <p:nvPr userDrawn="1"/>
        </p:nvSpPr>
        <p:spPr>
          <a:xfrm>
            <a:off x="2734734" y="3500352"/>
            <a:ext cx="3750412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2286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3" name="Textplatzhalter 26">
            <a:extLst>
              <a:ext uri="{FF2B5EF4-FFF2-40B4-BE49-F238E27FC236}">
                <a16:creationId xmlns:a16="http://schemas.microsoft.com/office/drawing/2014/main" id="{0B884043-C75F-4A8E-831F-57A0E1E33C9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80445" y="421637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34" name="Textplatzhalter 35">
            <a:extLst>
              <a:ext uri="{FF2B5EF4-FFF2-40B4-BE49-F238E27FC236}">
                <a16:creationId xmlns:a16="http://schemas.microsoft.com/office/drawing/2014/main" id="{11F960EE-CCBB-4852-9A1B-24F0556CA4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80443" y="4588589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924E695-160F-425A-9C69-6AFF9551679F}"/>
              </a:ext>
            </a:extLst>
          </p:cNvPr>
          <p:cNvSpPr/>
          <p:nvPr userDrawn="1"/>
        </p:nvSpPr>
        <p:spPr>
          <a:xfrm>
            <a:off x="8445500" y="1009649"/>
            <a:ext cx="3746500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3052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9" name="Textplatzhalter 26">
            <a:extLst>
              <a:ext uri="{FF2B5EF4-FFF2-40B4-BE49-F238E27FC236}">
                <a16:creationId xmlns:a16="http://schemas.microsoft.com/office/drawing/2014/main" id="{D2F29D40-13C9-41FB-AFFA-85491C009E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98985" y="1725668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60" name="Textplatzhalter 35">
            <a:extLst>
              <a:ext uri="{FF2B5EF4-FFF2-40B4-BE49-F238E27FC236}">
                <a16:creationId xmlns:a16="http://schemas.microsoft.com/office/drawing/2014/main" id="{E677340F-EF6D-40A1-B272-E825C63153B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98984" y="2097885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1316428-BBAD-4650-8430-0B440D1391C9}"/>
              </a:ext>
            </a:extLst>
          </p:cNvPr>
          <p:cNvSpPr/>
          <p:nvPr userDrawn="1"/>
        </p:nvSpPr>
        <p:spPr>
          <a:xfrm>
            <a:off x="8445500" y="3500352"/>
            <a:ext cx="3746500" cy="234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623052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3" name="Textplatzhalter 26">
            <a:extLst>
              <a:ext uri="{FF2B5EF4-FFF2-40B4-BE49-F238E27FC236}">
                <a16:creationId xmlns:a16="http://schemas.microsoft.com/office/drawing/2014/main" id="{088108A6-84F7-4B20-914D-18C953F46B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98985" y="421637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64" name="Textplatzhalter 35">
            <a:extLst>
              <a:ext uri="{FF2B5EF4-FFF2-40B4-BE49-F238E27FC236}">
                <a16:creationId xmlns:a16="http://schemas.microsoft.com/office/drawing/2014/main" id="{C9B1DB20-4664-456E-8599-00A1A0D8E3A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98984" y="4588589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36505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F4AA879E-CD1B-4468-A60F-22BD5B2EE865}"/>
              </a:ext>
            </a:extLst>
          </p:cNvPr>
          <p:cNvSpPr/>
          <p:nvPr userDrawn="1"/>
        </p:nvSpPr>
        <p:spPr>
          <a:xfrm>
            <a:off x="2734734" y="1009650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5265D3A-CBD7-405C-A37D-5E66050AB1EF}"/>
              </a:ext>
            </a:extLst>
          </p:cNvPr>
          <p:cNvSpPr/>
          <p:nvPr userDrawn="1"/>
        </p:nvSpPr>
        <p:spPr>
          <a:xfrm>
            <a:off x="2734734" y="2669425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E9C4F868-3250-4423-8B9E-5F8B50631071}"/>
              </a:ext>
            </a:extLst>
          </p:cNvPr>
          <p:cNvSpPr/>
          <p:nvPr userDrawn="1"/>
        </p:nvSpPr>
        <p:spPr>
          <a:xfrm>
            <a:off x="2734734" y="4328418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8CB0365-18B1-40F2-A76D-29F0015D251A}"/>
              </a:ext>
            </a:extLst>
          </p:cNvPr>
          <p:cNvSpPr/>
          <p:nvPr userDrawn="1"/>
        </p:nvSpPr>
        <p:spPr>
          <a:xfrm>
            <a:off x="8435879" y="1009650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2AE5BEFE-9AF2-450E-8E6E-510CB2A6EE65}"/>
              </a:ext>
            </a:extLst>
          </p:cNvPr>
          <p:cNvSpPr/>
          <p:nvPr userDrawn="1"/>
        </p:nvSpPr>
        <p:spPr>
          <a:xfrm>
            <a:off x="8435879" y="2669425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532714C-D0F4-4841-AA96-082F4443C357}"/>
              </a:ext>
            </a:extLst>
          </p:cNvPr>
          <p:cNvSpPr/>
          <p:nvPr userDrawn="1"/>
        </p:nvSpPr>
        <p:spPr>
          <a:xfrm>
            <a:off x="8435879" y="4328418"/>
            <a:ext cx="3756122" cy="151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9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3052" y="1009649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47" name="Bildplatzhalter 4">
            <a:extLst>
              <a:ext uri="{FF2B5EF4-FFF2-40B4-BE49-F238E27FC236}">
                <a16:creationId xmlns:a16="http://schemas.microsoft.com/office/drawing/2014/main" id="{07436F7D-C42A-4B42-889D-8F3CFB68223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2286" y="2669425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8" name="Bildplatzhalter 4">
            <a:extLst>
              <a:ext uri="{FF2B5EF4-FFF2-40B4-BE49-F238E27FC236}">
                <a16:creationId xmlns:a16="http://schemas.microsoft.com/office/drawing/2014/main" id="{28446AB4-B53E-430D-9190-48E2FB34F01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12286" y="4328418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3B14132C-77AE-4C9D-BAAD-5BB7940DBE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623052" y="2668643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0" name="Bildplatzhalter 4">
            <a:extLst>
              <a:ext uri="{FF2B5EF4-FFF2-40B4-BE49-F238E27FC236}">
                <a16:creationId xmlns:a16="http://schemas.microsoft.com/office/drawing/2014/main" id="{34B39398-958C-4AF2-A083-99F4F4C208C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623052" y="4328418"/>
            <a:ext cx="1822449" cy="15167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3" name="Textplatzhalter 26">
            <a:extLst>
              <a:ext uri="{FF2B5EF4-FFF2-40B4-BE49-F238E27FC236}">
                <a16:creationId xmlns:a16="http://schemas.microsoft.com/office/drawing/2014/main" id="{94AB9309-EAA5-49B4-B82F-1BD77C727A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0445" y="13649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54" name="Textplatzhalter 35">
            <a:extLst>
              <a:ext uri="{FF2B5EF4-FFF2-40B4-BE49-F238E27FC236}">
                <a16:creationId xmlns:a16="http://schemas.microsoft.com/office/drawing/2014/main" id="{DA8DC389-8A12-4DA3-8CAB-A4D198C79B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80443" y="1737204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7" name="Textplatzhalter 26">
            <a:extLst>
              <a:ext uri="{FF2B5EF4-FFF2-40B4-BE49-F238E27FC236}">
                <a16:creationId xmlns:a16="http://schemas.microsoft.com/office/drawing/2014/main" id="{816796D7-B715-4770-975E-8A696C5B7B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80445" y="302476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58" name="Textplatzhalter 35">
            <a:extLst>
              <a:ext uri="{FF2B5EF4-FFF2-40B4-BE49-F238E27FC236}">
                <a16:creationId xmlns:a16="http://schemas.microsoft.com/office/drawing/2014/main" id="{B7979116-26BA-485F-84A0-65C2388FA62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080443" y="3396978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7" name="Textplatzhalter 26">
            <a:extLst>
              <a:ext uri="{FF2B5EF4-FFF2-40B4-BE49-F238E27FC236}">
                <a16:creationId xmlns:a16="http://schemas.microsoft.com/office/drawing/2014/main" id="{C21D983A-0D4C-4D00-B111-735954A2961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080445" y="4683756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68" name="Textplatzhalter 35">
            <a:extLst>
              <a:ext uri="{FF2B5EF4-FFF2-40B4-BE49-F238E27FC236}">
                <a16:creationId xmlns:a16="http://schemas.microsoft.com/office/drawing/2014/main" id="{02B9B515-5674-4464-BA68-1229D9DDF1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080443" y="5055972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5" name="Textplatzhalter 26">
            <a:extLst>
              <a:ext uri="{FF2B5EF4-FFF2-40B4-BE49-F238E27FC236}">
                <a16:creationId xmlns:a16="http://schemas.microsoft.com/office/drawing/2014/main" id="{5830621B-BA92-4785-A83E-285D5C38D1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76861" y="13649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76" name="Textplatzhalter 35">
            <a:extLst>
              <a:ext uri="{FF2B5EF4-FFF2-40B4-BE49-F238E27FC236}">
                <a16:creationId xmlns:a16="http://schemas.microsoft.com/office/drawing/2014/main" id="{598166D4-495B-4114-91E9-3343EF5B392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776858" y="1737204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7" name="Textplatzhalter 26">
            <a:extLst>
              <a:ext uri="{FF2B5EF4-FFF2-40B4-BE49-F238E27FC236}">
                <a16:creationId xmlns:a16="http://schemas.microsoft.com/office/drawing/2014/main" id="{F428F419-263B-4872-892E-D6ECAF867C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76861" y="302476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78" name="Textplatzhalter 35">
            <a:extLst>
              <a:ext uri="{FF2B5EF4-FFF2-40B4-BE49-F238E27FC236}">
                <a16:creationId xmlns:a16="http://schemas.microsoft.com/office/drawing/2014/main" id="{C081683D-5F61-4838-9654-F36D7330853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76858" y="3396978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9" name="Textplatzhalter 26">
            <a:extLst>
              <a:ext uri="{FF2B5EF4-FFF2-40B4-BE49-F238E27FC236}">
                <a16:creationId xmlns:a16="http://schemas.microsoft.com/office/drawing/2014/main" id="{C83575E6-3737-4178-8E0F-8084568DA77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776861" y="4683756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80" name="Textplatzhalter 35">
            <a:extLst>
              <a:ext uri="{FF2B5EF4-FFF2-40B4-BE49-F238E27FC236}">
                <a16:creationId xmlns:a16="http://schemas.microsoft.com/office/drawing/2014/main" id="{0AC2C41F-DE75-49A7-8D8E-14310ECE75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776858" y="5055972"/>
            <a:ext cx="3028953" cy="649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3153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1F235-FBFF-453E-B90A-5758ED47C7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938306"/>
            <a:ext cx="10543032" cy="1325563"/>
          </a:xfrm>
        </p:spPr>
        <p:txBody>
          <a:bodyPr>
            <a:normAutofit/>
          </a:bodyPr>
          <a:lstStyle>
            <a:lvl1pPr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43A871-5A76-4349-99F0-C46C773804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94D44-7693-499F-AC6C-11696134FE3F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72E803-8BD9-40A2-8389-C19DA1148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5414ED-B772-4B84-813E-E34C9A97C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47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x Bild &amp;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26E64995-10B5-442B-80F9-C43858D8CBD7}"/>
              </a:ext>
            </a:extLst>
          </p:cNvPr>
          <p:cNvSpPr/>
          <p:nvPr userDrawn="1"/>
        </p:nvSpPr>
        <p:spPr>
          <a:xfrm>
            <a:off x="2734734" y="100965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BAA7624-496F-4F89-817D-8AF0714308FC}"/>
              </a:ext>
            </a:extLst>
          </p:cNvPr>
          <p:cNvSpPr/>
          <p:nvPr userDrawn="1"/>
        </p:nvSpPr>
        <p:spPr>
          <a:xfrm>
            <a:off x="2734734" y="2253648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58E32BA-BE0C-4488-B8EB-732F6128967B}"/>
              </a:ext>
            </a:extLst>
          </p:cNvPr>
          <p:cNvSpPr/>
          <p:nvPr userDrawn="1"/>
        </p:nvSpPr>
        <p:spPr>
          <a:xfrm>
            <a:off x="2734734" y="349483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ED833DA5-F35F-4F65-BED5-F05C52F2BC6F}"/>
              </a:ext>
            </a:extLst>
          </p:cNvPr>
          <p:cNvSpPr/>
          <p:nvPr userDrawn="1"/>
        </p:nvSpPr>
        <p:spPr>
          <a:xfrm>
            <a:off x="2734734" y="4744349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9FCAF0B-1160-4607-A5DB-B6DA4D3B6132}"/>
              </a:ext>
            </a:extLst>
          </p:cNvPr>
          <p:cNvSpPr/>
          <p:nvPr userDrawn="1"/>
        </p:nvSpPr>
        <p:spPr>
          <a:xfrm>
            <a:off x="8445500" y="100965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4AA3BDD-7D99-47C9-8C58-0BEE4016B552}"/>
              </a:ext>
            </a:extLst>
          </p:cNvPr>
          <p:cNvSpPr/>
          <p:nvPr userDrawn="1"/>
        </p:nvSpPr>
        <p:spPr>
          <a:xfrm>
            <a:off x="8445500" y="2253648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FDE5A96-3738-4FFA-9E5A-CFEFD87EAD10}"/>
              </a:ext>
            </a:extLst>
          </p:cNvPr>
          <p:cNvSpPr/>
          <p:nvPr userDrawn="1"/>
        </p:nvSpPr>
        <p:spPr>
          <a:xfrm>
            <a:off x="8445500" y="3494831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BD7D16A5-7872-425B-BB1F-C614C018A3DC}"/>
              </a:ext>
            </a:extLst>
          </p:cNvPr>
          <p:cNvSpPr/>
          <p:nvPr userDrawn="1"/>
        </p:nvSpPr>
        <p:spPr>
          <a:xfrm>
            <a:off x="8445500" y="4744349"/>
            <a:ext cx="3750412" cy="11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9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73" name="Bildplatzhalter 4">
            <a:extLst>
              <a:ext uri="{FF2B5EF4-FFF2-40B4-BE49-F238E27FC236}">
                <a16:creationId xmlns:a16="http://schemas.microsoft.com/office/drawing/2014/main" id="{6A119193-1F71-4BEC-B026-63FF8344E9F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12286" y="2259167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22F3C23B-A1A0-44C1-8B1A-16C96C4FEE0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12286" y="3500350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1" name="Bildplatzhalter 4">
            <a:extLst>
              <a:ext uri="{FF2B5EF4-FFF2-40B4-BE49-F238E27FC236}">
                <a16:creationId xmlns:a16="http://schemas.microsoft.com/office/drawing/2014/main" id="{31D9F732-278E-4335-A997-3A9B0B4FBB53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12286" y="4749868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2" name="Bildplatzhalter 4">
            <a:extLst>
              <a:ext uri="{FF2B5EF4-FFF2-40B4-BE49-F238E27FC236}">
                <a16:creationId xmlns:a16="http://schemas.microsoft.com/office/drawing/2014/main" id="{F5834584-CCAA-4ACA-AC78-11410558842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623052" y="1009649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3" name="Bildplatzhalter 4">
            <a:extLst>
              <a:ext uri="{FF2B5EF4-FFF2-40B4-BE49-F238E27FC236}">
                <a16:creationId xmlns:a16="http://schemas.microsoft.com/office/drawing/2014/main" id="{2935FB01-471E-4B44-8FD1-C9C8C6AEEDC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623052" y="2256408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819355A9-47BE-45EF-90CD-ADBB16456C5B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6623052" y="3497590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5" name="Bildplatzhalter 4">
            <a:extLst>
              <a:ext uri="{FF2B5EF4-FFF2-40B4-BE49-F238E27FC236}">
                <a16:creationId xmlns:a16="http://schemas.microsoft.com/office/drawing/2014/main" id="{5F5BA631-97BF-4FA7-8C3E-A3D9218C7CA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623052" y="4744349"/>
            <a:ext cx="1822449" cy="109848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88" name="Textplatzhalter 26">
            <a:extLst>
              <a:ext uri="{FF2B5EF4-FFF2-40B4-BE49-F238E27FC236}">
                <a16:creationId xmlns:a16="http://schemas.microsoft.com/office/drawing/2014/main" id="{CD59616B-333E-48E7-AC05-F0B13D3AE1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80445" y="1141304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89" name="Textplatzhalter 35">
            <a:extLst>
              <a:ext uri="{FF2B5EF4-FFF2-40B4-BE49-F238E27FC236}">
                <a16:creationId xmlns:a16="http://schemas.microsoft.com/office/drawing/2014/main" id="{73C5EE01-AC79-4E21-BED3-9F2F5EE979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80443" y="1513521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2" name="Textplatzhalter 26">
            <a:extLst>
              <a:ext uri="{FF2B5EF4-FFF2-40B4-BE49-F238E27FC236}">
                <a16:creationId xmlns:a16="http://schemas.microsoft.com/office/drawing/2014/main" id="{CC9232A2-FEFA-44D6-AEA8-80D4370C493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80445" y="23913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93" name="Textplatzhalter 35">
            <a:extLst>
              <a:ext uri="{FF2B5EF4-FFF2-40B4-BE49-F238E27FC236}">
                <a16:creationId xmlns:a16="http://schemas.microsoft.com/office/drawing/2014/main" id="{828DF350-00BC-4951-B663-EE72A944278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080443" y="2763604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9" name="Textplatzhalter 26">
            <a:extLst>
              <a:ext uri="{FF2B5EF4-FFF2-40B4-BE49-F238E27FC236}">
                <a16:creationId xmlns:a16="http://schemas.microsoft.com/office/drawing/2014/main" id="{41FC561B-1E90-4793-8A60-04861C3893F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080445" y="3629900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00" name="Textplatzhalter 35">
            <a:extLst>
              <a:ext uri="{FF2B5EF4-FFF2-40B4-BE49-F238E27FC236}">
                <a16:creationId xmlns:a16="http://schemas.microsoft.com/office/drawing/2014/main" id="{A825FB20-9F0A-4585-BAAB-AEA01864419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080443" y="4002117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3" name="Textplatzhalter 26">
            <a:extLst>
              <a:ext uri="{FF2B5EF4-FFF2-40B4-BE49-F238E27FC236}">
                <a16:creationId xmlns:a16="http://schemas.microsoft.com/office/drawing/2014/main" id="{E5A26FED-5593-4616-B08B-7AA16B1654B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080445" y="487638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04" name="Textplatzhalter 35">
            <a:extLst>
              <a:ext uri="{FF2B5EF4-FFF2-40B4-BE49-F238E27FC236}">
                <a16:creationId xmlns:a16="http://schemas.microsoft.com/office/drawing/2014/main" id="{BBD7BA9E-7FB4-42E3-8E46-4355C274D84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080443" y="5248599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3" name="Textplatzhalter 26">
            <a:extLst>
              <a:ext uri="{FF2B5EF4-FFF2-40B4-BE49-F238E27FC236}">
                <a16:creationId xmlns:a16="http://schemas.microsoft.com/office/drawing/2014/main" id="{C4F7318B-4A5B-4D28-8D24-2A397F7226C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791211" y="1141304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14" name="Textplatzhalter 35">
            <a:extLst>
              <a:ext uri="{FF2B5EF4-FFF2-40B4-BE49-F238E27FC236}">
                <a16:creationId xmlns:a16="http://schemas.microsoft.com/office/drawing/2014/main" id="{ED6A3286-BBAA-49CF-A071-7BBC921B69B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791209" y="1513521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5" name="Textplatzhalter 26">
            <a:extLst>
              <a:ext uri="{FF2B5EF4-FFF2-40B4-BE49-F238E27FC236}">
                <a16:creationId xmlns:a16="http://schemas.microsoft.com/office/drawing/2014/main" id="{93A1C177-A3A7-4E73-82B2-FBF3769C37E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791211" y="2391387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16" name="Textplatzhalter 35">
            <a:extLst>
              <a:ext uri="{FF2B5EF4-FFF2-40B4-BE49-F238E27FC236}">
                <a16:creationId xmlns:a16="http://schemas.microsoft.com/office/drawing/2014/main" id="{3D6E6D89-B105-45BA-A727-DC6E3AD9D3D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791209" y="2763604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7" name="Textplatzhalter 26">
            <a:extLst>
              <a:ext uri="{FF2B5EF4-FFF2-40B4-BE49-F238E27FC236}">
                <a16:creationId xmlns:a16="http://schemas.microsoft.com/office/drawing/2014/main" id="{98A16870-2F6E-4901-8F72-6C9038A1AAA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791211" y="3629900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18" name="Textplatzhalter 35">
            <a:extLst>
              <a:ext uri="{FF2B5EF4-FFF2-40B4-BE49-F238E27FC236}">
                <a16:creationId xmlns:a16="http://schemas.microsoft.com/office/drawing/2014/main" id="{84309BD9-C1CA-45A0-B75B-1559199CDA3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791209" y="4002117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9" name="Textplatzhalter 26">
            <a:extLst>
              <a:ext uri="{FF2B5EF4-FFF2-40B4-BE49-F238E27FC236}">
                <a16:creationId xmlns:a16="http://schemas.microsoft.com/office/drawing/2014/main" id="{5B3A3F24-EFFA-4025-A18F-EAB8C2F5720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791211" y="4876382"/>
            <a:ext cx="3033681" cy="33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20" name="Textplatzhalter 35">
            <a:extLst>
              <a:ext uri="{FF2B5EF4-FFF2-40B4-BE49-F238E27FC236}">
                <a16:creationId xmlns:a16="http://schemas.microsoft.com/office/drawing/2014/main" id="{AD1A3435-A68F-46F8-BE9E-3F5774E56D5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791209" y="5248599"/>
            <a:ext cx="3028953" cy="4670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597" marR="0" indent="-228597" algn="l" defTabSz="1219182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38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4140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x Bild &amp; Überschrift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848B1AE4-3FBC-4B4C-BFB5-C32DF070AE47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9194AB9-E749-4A87-8E15-1D9DEC356B3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9239" y="1663939"/>
            <a:ext cx="3633711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50B56F4E-0BFA-4920-B730-DA8980EEF5E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738678" y="1663939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8" name="Bildplatzhalter 8">
            <a:extLst>
              <a:ext uri="{FF2B5EF4-FFF2-40B4-BE49-F238E27FC236}">
                <a16:creationId xmlns:a16="http://schemas.microsoft.com/office/drawing/2014/main" id="{59197E5E-CAA6-4798-9991-C64041E0A74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565073" y="1663939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3" name="Bildplatzhalter 8">
            <a:extLst>
              <a:ext uri="{FF2B5EF4-FFF2-40B4-BE49-F238E27FC236}">
                <a16:creationId xmlns:a16="http://schemas.microsoft.com/office/drawing/2014/main" id="{B41E54FF-4CEB-4DE2-A6DD-74E413EA421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9239" y="4084775"/>
            <a:ext cx="3633711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8">
            <a:extLst>
              <a:ext uri="{FF2B5EF4-FFF2-40B4-BE49-F238E27FC236}">
                <a16:creationId xmlns:a16="http://schemas.microsoft.com/office/drawing/2014/main" id="{5DB70E1B-DF22-40D3-9FE7-5F80AA5A7E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738678" y="4084775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8">
            <a:extLst>
              <a:ext uri="{FF2B5EF4-FFF2-40B4-BE49-F238E27FC236}">
                <a16:creationId xmlns:a16="http://schemas.microsoft.com/office/drawing/2014/main" id="{E6AB621D-02D8-4D1E-9980-2FFD82E9C58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565073" y="4084775"/>
            <a:ext cx="3626929" cy="176506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Textplatzhalter 26">
            <a:extLst>
              <a:ext uri="{FF2B5EF4-FFF2-40B4-BE49-F238E27FC236}">
                <a16:creationId xmlns:a16="http://schemas.microsoft.com/office/drawing/2014/main" id="{F69311EB-7498-9F4A-A1AF-DF3EB7A1D2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46412" y="1296859"/>
            <a:ext cx="3249403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19" name="Textplatzhalter 26">
            <a:extLst>
              <a:ext uri="{FF2B5EF4-FFF2-40B4-BE49-F238E27FC236}">
                <a16:creationId xmlns:a16="http://schemas.microsoft.com/office/drawing/2014/main" id="{FF4458D5-2A78-6D49-8C01-12B2B56485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35143" y="1296859"/>
            <a:ext cx="3273327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0" name="Textplatzhalter 26">
            <a:extLst>
              <a:ext uri="{FF2B5EF4-FFF2-40B4-BE49-F238E27FC236}">
                <a16:creationId xmlns:a16="http://schemas.microsoft.com/office/drawing/2014/main" id="{217875A8-9090-4A48-95C7-D300A77D29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68169" y="1296859"/>
            <a:ext cx="3266696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1" name="Textplatzhalter 26">
            <a:extLst>
              <a:ext uri="{FF2B5EF4-FFF2-40B4-BE49-F238E27FC236}">
                <a16:creationId xmlns:a16="http://schemas.microsoft.com/office/drawing/2014/main" id="{9E0DC7F7-3BB3-714B-BD16-48D1A36329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46412" y="3717694"/>
            <a:ext cx="3249403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2" name="Textplatzhalter 26">
            <a:extLst>
              <a:ext uri="{FF2B5EF4-FFF2-40B4-BE49-F238E27FC236}">
                <a16:creationId xmlns:a16="http://schemas.microsoft.com/office/drawing/2014/main" id="{5D1E6107-5BDC-2743-83DB-154C9F68569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35143" y="3717694"/>
            <a:ext cx="3273327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3" name="Textplatzhalter 26">
            <a:extLst>
              <a:ext uri="{FF2B5EF4-FFF2-40B4-BE49-F238E27FC236}">
                <a16:creationId xmlns:a16="http://schemas.microsoft.com/office/drawing/2014/main" id="{E99A4454-3C05-C447-AA4A-6D7DFF1DD0C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68169" y="3717694"/>
            <a:ext cx="3266696" cy="3320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marR="0" indent="0" algn="l" defTabSz="1219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58" b="1"/>
            </a:lvl1pPr>
          </a:lstStyle>
          <a:p>
            <a:pPr lvl="0"/>
            <a:r>
              <a:rPr lang="de-DE"/>
              <a:t>Unterüberschrift einfüg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80B690A9-D725-4A5B-AFF5-04E4252F4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79300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0" name="Bildplatzhalter 4">
            <a:extLst>
              <a:ext uri="{FF2B5EF4-FFF2-40B4-BE49-F238E27FC236}">
                <a16:creationId xmlns:a16="http://schemas.microsoft.com/office/drawing/2014/main" id="{99F4D264-C8B0-41A3-B5A0-613C75EEFF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286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5E8E2BFE-2BB0-4499-BEEE-6270E3B5F24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2286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23052" y="1009648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457BB239-3FDE-4AA9-8F78-3A25A953B73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623052" y="3500352"/>
            <a:ext cx="1822449" cy="23479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23936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ck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51716" y="1353875"/>
            <a:ext cx="3309176" cy="155198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1074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9461113B-5D3E-4747-862A-23B000800850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628C0EC2-2EDB-4946-9BD5-55478645C9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81065" y="1356172"/>
            <a:ext cx="1732881" cy="125791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itel 1">
            <a:extLst>
              <a:ext uri="{FF2B5EF4-FFF2-40B4-BE49-F238E27FC236}">
                <a16:creationId xmlns:a16="http://schemas.microsoft.com/office/drawing/2014/main" id="{7AF5B2B1-9CCC-42EB-8F0F-4280F5F01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41A9F677-4DAC-4A15-81B3-D4DEC6B7CDB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55927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6E7AB74-AF20-48A2-9C40-83C82E0F5A4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78021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75D2276-AC38-464F-ADA2-2D09EF2AEA1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687960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A15B1EE3-88E6-438B-8BAB-A140E6DA45F6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905698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7F59E4D-3963-4A65-8E55-943B70C2615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116623" y="3091061"/>
            <a:ext cx="1728364" cy="135528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04224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08">
          <p15:clr>
            <a:srgbClr val="FBAE40"/>
          </p15:clr>
        </p15:guide>
        <p15:guide id="2" pos="348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0647B6A-76EC-47E4-91B6-049EB09B2C5C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17" name="Bildplatzhalter 5">
            <a:extLst>
              <a:ext uri="{FF2B5EF4-FFF2-40B4-BE49-F238E27FC236}">
                <a16:creationId xmlns:a16="http://schemas.microsoft.com/office/drawing/2014/main" id="{407B090F-1EAA-4556-8981-5234D055CB2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81899" y="1013140"/>
            <a:ext cx="5608439" cy="4834962"/>
          </a:xfrm>
          <a:custGeom>
            <a:avLst/>
            <a:gdLst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0 w 3719512"/>
              <a:gd name="connsiteY4" fmla="*/ 0 h 3313112"/>
              <a:gd name="connsiteX0" fmla="*/ 0 w 3719512"/>
              <a:gd name="connsiteY0" fmla="*/ 0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0 w 3719512"/>
              <a:gd name="connsiteY5" fmla="*/ 0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876 w 3719512"/>
              <a:gd name="connsiteY4" fmla="*/ 558078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60400 w 3719512"/>
              <a:gd name="connsiteY0" fmla="*/ 4618 h 3313112"/>
              <a:gd name="connsiteX1" fmla="*/ 3719512 w 3719512"/>
              <a:gd name="connsiteY1" fmla="*/ 0 h 3313112"/>
              <a:gd name="connsiteX2" fmla="*/ 3719512 w 3719512"/>
              <a:gd name="connsiteY2" fmla="*/ 3313112 h 3313112"/>
              <a:gd name="connsiteX3" fmla="*/ 0 w 3719512"/>
              <a:gd name="connsiteY3" fmla="*/ 3313112 h 3313112"/>
              <a:gd name="connsiteX4" fmla="*/ 11113 w 3719512"/>
              <a:gd name="connsiteY4" fmla="*/ 1052223 h 3313112"/>
              <a:gd name="connsiteX5" fmla="*/ 660400 w 3719512"/>
              <a:gd name="connsiteY5" fmla="*/ 4618 h 3313112"/>
              <a:gd name="connsiteX0" fmla="*/ 649288 w 3708400"/>
              <a:gd name="connsiteY0" fmla="*/ 4618 h 3313112"/>
              <a:gd name="connsiteX1" fmla="*/ 3708400 w 3708400"/>
              <a:gd name="connsiteY1" fmla="*/ 0 h 3313112"/>
              <a:gd name="connsiteX2" fmla="*/ 3708400 w 3708400"/>
              <a:gd name="connsiteY2" fmla="*/ 3313112 h 3313112"/>
              <a:gd name="connsiteX3" fmla="*/ 727797 w 3708400"/>
              <a:gd name="connsiteY3" fmla="*/ 3313112 h 3313112"/>
              <a:gd name="connsiteX4" fmla="*/ 1 w 3708400"/>
              <a:gd name="connsiteY4" fmla="*/ 1052223 h 3313112"/>
              <a:gd name="connsiteX5" fmla="*/ 649288 w 3708400"/>
              <a:gd name="connsiteY5" fmla="*/ 4618 h 3313112"/>
              <a:gd name="connsiteX0" fmla="*/ 649288 w 3708400"/>
              <a:gd name="connsiteY0" fmla="*/ 4618 h 3313127"/>
              <a:gd name="connsiteX1" fmla="*/ 3708400 w 3708400"/>
              <a:gd name="connsiteY1" fmla="*/ 0 h 3313127"/>
              <a:gd name="connsiteX2" fmla="*/ 3708400 w 3708400"/>
              <a:gd name="connsiteY2" fmla="*/ 3313112 h 3313127"/>
              <a:gd name="connsiteX3" fmla="*/ 727797 w 3708400"/>
              <a:gd name="connsiteY3" fmla="*/ 3313112 h 3313127"/>
              <a:gd name="connsiteX4" fmla="*/ 1 w 3708400"/>
              <a:gd name="connsiteY4" fmla="*/ 1052223 h 3313127"/>
              <a:gd name="connsiteX5" fmla="*/ 649288 w 3708400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52223 h 3313127"/>
              <a:gd name="connsiteX5" fmla="*/ 649287 w 3708399"/>
              <a:gd name="connsiteY5" fmla="*/ 4618 h 3313127"/>
              <a:gd name="connsiteX0" fmla="*/ 649287 w 3708399"/>
              <a:gd name="connsiteY0" fmla="*/ 4618 h 3313127"/>
              <a:gd name="connsiteX1" fmla="*/ 3708399 w 3708399"/>
              <a:gd name="connsiteY1" fmla="*/ 0 h 3313127"/>
              <a:gd name="connsiteX2" fmla="*/ 3708399 w 3708399"/>
              <a:gd name="connsiteY2" fmla="*/ 3313112 h 3313127"/>
              <a:gd name="connsiteX3" fmla="*/ 727796 w 3708399"/>
              <a:gd name="connsiteY3" fmla="*/ 3313112 h 3313127"/>
              <a:gd name="connsiteX4" fmla="*/ 0 w 3708399"/>
              <a:gd name="connsiteY4" fmla="*/ 1038368 h 3313127"/>
              <a:gd name="connsiteX5" fmla="*/ 649287 w 3708399"/>
              <a:gd name="connsiteY5" fmla="*/ 4618 h 3313127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3708399 w 4251324"/>
              <a:gd name="connsiteY2" fmla="*/ 3308494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33750 h 3308509"/>
              <a:gd name="connsiteX5" fmla="*/ 649287 w 4251324"/>
              <a:gd name="connsiteY5" fmla="*/ 0 h 3308509"/>
              <a:gd name="connsiteX0" fmla="*/ 649287 w 4251324"/>
              <a:gd name="connsiteY0" fmla="*/ 0 h 3308509"/>
              <a:gd name="connsiteX1" fmla="*/ 4251324 w 4251324"/>
              <a:gd name="connsiteY1" fmla="*/ 2525 h 3308509"/>
              <a:gd name="connsiteX2" fmla="*/ 4248943 w 4251324"/>
              <a:gd name="connsiteY2" fmla="*/ 3306113 h 3308509"/>
              <a:gd name="connsiteX3" fmla="*/ 727796 w 4251324"/>
              <a:gd name="connsiteY3" fmla="*/ 3308494 h 3308509"/>
              <a:gd name="connsiteX4" fmla="*/ 0 w 4251324"/>
              <a:gd name="connsiteY4" fmla="*/ 1044382 h 3308509"/>
              <a:gd name="connsiteX5" fmla="*/ 649287 w 4251324"/>
              <a:gd name="connsiteY5" fmla="*/ 0 h 3308509"/>
              <a:gd name="connsiteX0" fmla="*/ 649287 w 4251523"/>
              <a:gd name="connsiteY0" fmla="*/ 0 h 3308509"/>
              <a:gd name="connsiteX1" fmla="*/ 4251324 w 4251523"/>
              <a:gd name="connsiteY1" fmla="*/ 2525 h 3308509"/>
              <a:gd name="connsiteX2" fmla="*/ 4251290 w 4251523"/>
              <a:gd name="connsiteY2" fmla="*/ 3306113 h 3308509"/>
              <a:gd name="connsiteX3" fmla="*/ 727796 w 4251523"/>
              <a:gd name="connsiteY3" fmla="*/ 3308494 h 3308509"/>
              <a:gd name="connsiteX4" fmla="*/ 0 w 4251523"/>
              <a:gd name="connsiteY4" fmla="*/ 1044382 h 3308509"/>
              <a:gd name="connsiteX5" fmla="*/ 649287 w 4251523"/>
              <a:gd name="connsiteY5" fmla="*/ 0 h 3308509"/>
              <a:gd name="connsiteX0" fmla="*/ 649287 w 4251524"/>
              <a:gd name="connsiteY0" fmla="*/ 0 h 3308509"/>
              <a:gd name="connsiteX1" fmla="*/ 4251324 w 4251524"/>
              <a:gd name="connsiteY1" fmla="*/ 2525 h 3308509"/>
              <a:gd name="connsiteX2" fmla="*/ 4251291 w 4251524"/>
              <a:gd name="connsiteY2" fmla="*/ 3306113 h 3308509"/>
              <a:gd name="connsiteX3" fmla="*/ 727796 w 4251524"/>
              <a:gd name="connsiteY3" fmla="*/ 3308494 h 3308509"/>
              <a:gd name="connsiteX4" fmla="*/ 0 w 4251524"/>
              <a:gd name="connsiteY4" fmla="*/ 1044382 h 3308509"/>
              <a:gd name="connsiteX5" fmla="*/ 649287 w 4251524"/>
              <a:gd name="connsiteY5" fmla="*/ 0 h 3308509"/>
              <a:gd name="connsiteX0" fmla="*/ 649287 w 4256061"/>
              <a:gd name="connsiteY0" fmla="*/ 0 h 3308509"/>
              <a:gd name="connsiteX1" fmla="*/ 4251324 w 4256061"/>
              <a:gd name="connsiteY1" fmla="*/ 2525 h 3308509"/>
              <a:gd name="connsiteX2" fmla="*/ 4255992 w 4256061"/>
              <a:gd name="connsiteY2" fmla="*/ 3308462 h 3308509"/>
              <a:gd name="connsiteX3" fmla="*/ 727796 w 4256061"/>
              <a:gd name="connsiteY3" fmla="*/ 3308494 h 3308509"/>
              <a:gd name="connsiteX4" fmla="*/ 0 w 4256061"/>
              <a:gd name="connsiteY4" fmla="*/ 1044382 h 3308509"/>
              <a:gd name="connsiteX5" fmla="*/ 649287 w 4256061"/>
              <a:gd name="connsiteY5" fmla="*/ 0 h 3308509"/>
              <a:gd name="connsiteX0" fmla="*/ 649287 w 4256225"/>
              <a:gd name="connsiteY0" fmla="*/ 2175 h 3310684"/>
              <a:gd name="connsiteX1" fmla="*/ 4256025 w 4256225"/>
              <a:gd name="connsiteY1" fmla="*/ 0 h 3310684"/>
              <a:gd name="connsiteX2" fmla="*/ 4255992 w 4256225"/>
              <a:gd name="connsiteY2" fmla="*/ 3310637 h 3310684"/>
              <a:gd name="connsiteX3" fmla="*/ 727796 w 4256225"/>
              <a:gd name="connsiteY3" fmla="*/ 3310669 h 3310684"/>
              <a:gd name="connsiteX4" fmla="*/ 0 w 4256225"/>
              <a:gd name="connsiteY4" fmla="*/ 1046557 h 3310684"/>
              <a:gd name="connsiteX5" fmla="*/ 649287 w 4256225"/>
              <a:gd name="connsiteY5" fmla="*/ 2175 h 3310684"/>
              <a:gd name="connsiteX0" fmla="*/ 649287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49287 w 4256225"/>
              <a:gd name="connsiteY5" fmla="*/ 0 h 3308509"/>
              <a:gd name="connsiteX0" fmla="*/ 651566 w 4256225"/>
              <a:gd name="connsiteY0" fmla="*/ 0 h 3308509"/>
              <a:gd name="connsiteX1" fmla="*/ 4256025 w 4256225"/>
              <a:gd name="connsiteY1" fmla="*/ 105 h 3308509"/>
              <a:gd name="connsiteX2" fmla="*/ 4255992 w 4256225"/>
              <a:gd name="connsiteY2" fmla="*/ 3308462 h 3308509"/>
              <a:gd name="connsiteX3" fmla="*/ 727796 w 4256225"/>
              <a:gd name="connsiteY3" fmla="*/ 3308494 h 3308509"/>
              <a:gd name="connsiteX4" fmla="*/ 0 w 4256225"/>
              <a:gd name="connsiteY4" fmla="*/ 1044382 h 3308509"/>
              <a:gd name="connsiteX5" fmla="*/ 651566 w 4256225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073281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997051 w 4601710"/>
              <a:gd name="connsiteY0" fmla="*/ 0 h 3308509"/>
              <a:gd name="connsiteX1" fmla="*/ 4601510 w 4601710"/>
              <a:gd name="connsiteY1" fmla="*/ 105 h 3308509"/>
              <a:gd name="connsiteX2" fmla="*/ 4601477 w 4601710"/>
              <a:gd name="connsiteY2" fmla="*/ 3308462 h 3308509"/>
              <a:gd name="connsiteX3" fmla="*/ 1854794 w 4601710"/>
              <a:gd name="connsiteY3" fmla="*/ 3308494 h 3308509"/>
              <a:gd name="connsiteX4" fmla="*/ 0 w 4601710"/>
              <a:gd name="connsiteY4" fmla="*/ 1059736 h 3308509"/>
              <a:gd name="connsiteX5" fmla="*/ 997051 w 4601710"/>
              <a:gd name="connsiteY5" fmla="*/ 0 h 3308509"/>
              <a:gd name="connsiteX0" fmla="*/ 233128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233128 w 3837787"/>
              <a:gd name="connsiteY5" fmla="*/ 0 h 3308508"/>
              <a:gd name="connsiteX0" fmla="*/ 485641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5641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  <a:gd name="connsiteX0" fmla="*/ 488116 w 3837787"/>
              <a:gd name="connsiteY0" fmla="*/ 0 h 3308508"/>
              <a:gd name="connsiteX1" fmla="*/ 3837587 w 3837787"/>
              <a:gd name="connsiteY1" fmla="*/ 105 h 3308508"/>
              <a:gd name="connsiteX2" fmla="*/ 3837554 w 3837787"/>
              <a:gd name="connsiteY2" fmla="*/ 3308462 h 3308508"/>
              <a:gd name="connsiteX3" fmla="*/ 1090871 w 3837787"/>
              <a:gd name="connsiteY3" fmla="*/ 3308494 h 3308508"/>
              <a:gd name="connsiteX4" fmla="*/ 0 w 3837787"/>
              <a:gd name="connsiteY4" fmla="*/ 1027068 h 3308508"/>
              <a:gd name="connsiteX5" fmla="*/ 488116 w 3837787"/>
              <a:gd name="connsiteY5" fmla="*/ 0 h 3308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7787" h="3308508">
                <a:moveTo>
                  <a:pt x="488116" y="0"/>
                </a:moveTo>
                <a:lnTo>
                  <a:pt x="3837587" y="105"/>
                </a:lnTo>
                <a:cubicBezTo>
                  <a:pt x="3836793" y="1101301"/>
                  <a:pt x="3838348" y="2207266"/>
                  <a:pt x="3837554" y="3308462"/>
                </a:cubicBezTo>
                <a:lnTo>
                  <a:pt x="1090871" y="3308494"/>
                </a:lnTo>
                <a:cubicBezTo>
                  <a:pt x="1091496" y="3313785"/>
                  <a:pt x="409600" y="1886052"/>
                  <a:pt x="0" y="1027068"/>
                </a:cubicBezTo>
                <a:cubicBezTo>
                  <a:pt x="203863" y="609799"/>
                  <a:pt x="311629" y="380324"/>
                  <a:pt x="488116" y="0"/>
                </a:cubicBez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Grafik 9">
            <a:extLst>
              <a:ext uri="{FF2B5EF4-FFF2-40B4-BE49-F238E27FC236}">
                <a16:creationId xmlns:a16="http://schemas.microsoft.com/office/drawing/2014/main" id="{B262BFFC-01B3-7B4E-861E-DFDF4BE558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46413" y="1345341"/>
            <a:ext cx="531963" cy="508000"/>
          </a:xfrm>
          <a:prstGeom prst="rect">
            <a:avLst/>
          </a:prstGeom>
        </p:spPr>
      </p:pic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799D434-E711-5848-80D1-3DAB88AD9C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1503" y="1345341"/>
            <a:ext cx="3438600" cy="59042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58" b="1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B06A5221-38FC-0A45-B567-8FC9F2C8A2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71506" y="2222564"/>
            <a:ext cx="3438598" cy="329009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0396" indent="-230396">
              <a:spcBef>
                <a:spcPts val="800"/>
              </a:spcBef>
              <a:spcAft>
                <a:spcPts val="0"/>
              </a:spcAft>
              <a:buFontTx/>
              <a:buBlip>
                <a:blip r:embed="rId4"/>
              </a:buBlip>
              <a:defRPr sz="1438" b="0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3F00AE2-1760-4A8E-9E28-E05FD932DC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10993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B505A4F-7D3B-42FC-8DCA-EC5497C7AEF7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7795AC2F-CBA1-4222-B52B-D68E8EDAAEA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6001"/>
            <a:ext cx="11271045" cy="25749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Grafik 9">
            <a:extLst>
              <a:ext uri="{FF2B5EF4-FFF2-40B4-BE49-F238E27FC236}">
                <a16:creationId xmlns:a16="http://schemas.microsoft.com/office/drawing/2014/main" id="{87FB08AA-E516-0A4A-A21E-573CFDDE58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63851" y="3971987"/>
            <a:ext cx="531963" cy="508000"/>
          </a:xfrm>
          <a:prstGeom prst="rect">
            <a:avLst/>
          </a:prstGeom>
        </p:spPr>
      </p:pic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9CC19695-BF1E-4D40-A7A4-9A19E3812B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1504" y="3971987"/>
            <a:ext cx="2381448" cy="59042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58" b="1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Hier eine Überschrift einfüg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EA82907D-DAAA-7A46-9336-76F36E6154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01919" y="3971985"/>
            <a:ext cx="3309176" cy="154067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0396" indent="-230396">
              <a:spcBef>
                <a:spcPts val="800"/>
              </a:spcBef>
              <a:spcAft>
                <a:spcPts val="0"/>
              </a:spcAft>
              <a:buFontTx/>
              <a:buBlip>
                <a:blip r:embed="rId4"/>
              </a:buBlip>
              <a:defRPr sz="1438" b="0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9FBB1583-2824-224E-83B8-EA073C6A1A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57711" y="3971985"/>
            <a:ext cx="3295570" cy="154067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0396" indent="-230396">
              <a:spcBef>
                <a:spcPts val="800"/>
              </a:spcBef>
              <a:spcAft>
                <a:spcPts val="0"/>
              </a:spcAft>
              <a:buFontTx/>
              <a:buBlip>
                <a:blip r:embed="rId4"/>
              </a:buBlip>
              <a:defRPr sz="1438" b="0">
                <a:solidFill>
                  <a:schemeClr val="tx1"/>
                </a:solidFill>
              </a:defRPr>
            </a:lvl1pPr>
            <a:lvl2pPr marL="719990" indent="-239997">
              <a:spcBef>
                <a:spcPts val="0"/>
              </a:spcBef>
              <a:defRPr sz="1866">
                <a:solidFill>
                  <a:schemeClr val="tx1"/>
                </a:solidFill>
              </a:defRPr>
            </a:lvl2pPr>
            <a:lvl3pPr marL="1439979" indent="-239997">
              <a:spcBef>
                <a:spcPts val="0"/>
              </a:spcBef>
              <a:buFont typeface="Wingdings" panose="05000000000000000000" pitchFamily="2" charset="2"/>
              <a:buChar char="§"/>
              <a:defRPr sz="1866">
                <a:solidFill>
                  <a:schemeClr val="tx1"/>
                </a:solidFill>
              </a:defRPr>
            </a:lvl3pPr>
            <a:lvl4pPr>
              <a:defRPr sz="1866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5F5DC176-7BE9-4F92-BDA6-1DEF3CD64E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11806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AF15E4D-60BE-4F06-BFF9-D3166E58232A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8" name="Bildplatzhalter 21">
            <a:extLst>
              <a:ext uri="{FF2B5EF4-FFF2-40B4-BE49-F238E27FC236}">
                <a16:creationId xmlns:a16="http://schemas.microsoft.com/office/drawing/2014/main" id="{0145011A-6A29-4C1B-8AC4-465FEC6462A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30733" y="1016000"/>
            <a:ext cx="6761267" cy="4832349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422B33E6-C66E-0642-8824-5F9F9706FE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49458" y="1349840"/>
            <a:ext cx="3652461" cy="416282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239997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1pPr>
            <a:lvl2pPr marL="719990" indent="-239997">
              <a:spcBef>
                <a:spcPts val="800"/>
              </a:spcBef>
              <a:defRPr sz="1438">
                <a:solidFill>
                  <a:schemeClr val="tx1"/>
                </a:solidFill>
              </a:defRPr>
            </a:lvl2pPr>
            <a:lvl3pPr marL="1439979" indent="-239997">
              <a:spcBef>
                <a:spcPts val="800"/>
              </a:spcBef>
              <a:buFontTx/>
              <a:buBlip>
                <a:blip r:embed="rId2"/>
              </a:buBlip>
              <a:defRPr sz="1438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38">
                <a:solidFill>
                  <a:schemeClr val="tx1"/>
                </a:solidFill>
              </a:defRPr>
            </a:lvl4pPr>
            <a:lvl5pPr>
              <a:defRPr sz="1866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B67F71B-F595-4649-8D2C-5C49019090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3828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1">
            <a:extLst>
              <a:ext uri="{FF2B5EF4-FFF2-40B4-BE49-F238E27FC236}">
                <a16:creationId xmlns:a16="http://schemas.microsoft.com/office/drawing/2014/main" id="{49F33779-D48C-4918-BFBC-98F9EAB5E2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6000"/>
            <a:ext cx="11271045" cy="483234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92C23A0-BE19-47B4-87C2-3E85D8F0DE9B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6162EEA3-EE2C-4CDD-A308-71519187F1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43277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1">
            <a:extLst>
              <a:ext uri="{FF2B5EF4-FFF2-40B4-BE49-F238E27FC236}">
                <a16:creationId xmlns:a16="http://schemas.microsoft.com/office/drawing/2014/main" id="{4A277F98-0860-4217-9FE3-212F90CCFF8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12192000" cy="5848350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83318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562BDD-CBFF-4046-A6B2-A9ECCB7EA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AF2AE-472C-4EF3-ABB2-24BAA9AE3CF7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90B5F6-6C28-4A86-AFD0-D7F93D461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910D5C-1634-451B-8D99-4D47EB3A1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07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1">
            <a:extLst>
              <a:ext uri="{FF2B5EF4-FFF2-40B4-BE49-F238E27FC236}">
                <a16:creationId xmlns:a16="http://schemas.microsoft.com/office/drawing/2014/main" id="{83FAB4AF-8D89-4B18-851A-0C3BBBA018E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30733" y="1016000"/>
            <a:ext cx="6761267" cy="4832349"/>
          </a:xfrm>
          <a:custGeom>
            <a:avLst/>
            <a:gdLst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0 w 5070950"/>
              <a:gd name="connsiteY3" fmla="*/ 3624262 h 3624262"/>
              <a:gd name="connsiteX4" fmla="*/ 0 w 5070950"/>
              <a:gd name="connsiteY4" fmla="*/ 0 h 3624262"/>
              <a:gd name="connsiteX0" fmla="*/ 0 w 5070950"/>
              <a:gd name="connsiteY0" fmla="*/ 0 h 3624262"/>
              <a:gd name="connsiteX1" fmla="*/ 5070950 w 5070950"/>
              <a:gd name="connsiteY1" fmla="*/ 0 h 3624262"/>
              <a:gd name="connsiteX2" fmla="*/ 5070950 w 5070950"/>
              <a:gd name="connsiteY2" fmla="*/ 3624262 h 3624262"/>
              <a:gd name="connsiteX3" fmla="*/ 1733550 w 5070950"/>
              <a:gd name="connsiteY3" fmla="*/ 3624262 h 3624262"/>
              <a:gd name="connsiteX4" fmla="*/ 0 w 5070950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3624262">
                <a:moveTo>
                  <a:pt x="0" y="0"/>
                </a:moveTo>
                <a:lnTo>
                  <a:pt x="5070950" y="0"/>
                </a:lnTo>
                <a:lnTo>
                  <a:pt x="5070950" y="3624262"/>
                </a:lnTo>
                <a:lnTo>
                  <a:pt x="173355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DA205671-6F91-451B-93C2-AB36C1D775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5684"/>
            <a:ext cx="6750892" cy="483266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B9C06851-A738-455A-B943-31E540C65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22213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21">
            <a:extLst>
              <a:ext uri="{FF2B5EF4-FFF2-40B4-BE49-F238E27FC236}">
                <a16:creationId xmlns:a16="http://schemas.microsoft.com/office/drawing/2014/main" id="{DE81FEC8-02C9-459A-BC47-4D4EEBE49B2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-3225"/>
            <a:ext cx="7460889" cy="5851574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2419 h 4388681"/>
              <a:gd name="connsiteX1" fmla="*/ 3500772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  <a:gd name="connsiteX0" fmla="*/ 0 w 5595667"/>
              <a:gd name="connsiteY0" fmla="*/ 2419 h 4388681"/>
              <a:gd name="connsiteX1" fmla="*/ 3495934 w 5595667"/>
              <a:gd name="connsiteY1" fmla="*/ 0 h 4388681"/>
              <a:gd name="connsiteX2" fmla="*/ 5595667 w 5595667"/>
              <a:gd name="connsiteY2" fmla="*/ 4388681 h 4388681"/>
              <a:gd name="connsiteX3" fmla="*/ 0 w 5595667"/>
              <a:gd name="connsiteY3" fmla="*/ 4388681 h 4388681"/>
              <a:gd name="connsiteX4" fmla="*/ 0 w 5595667"/>
              <a:gd name="connsiteY4" fmla="*/ 2419 h 4388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8681">
                <a:moveTo>
                  <a:pt x="0" y="2419"/>
                </a:moveTo>
                <a:lnTo>
                  <a:pt x="3495934" y="0"/>
                </a:lnTo>
                <a:lnTo>
                  <a:pt x="5595667" y="4388681"/>
                </a:lnTo>
                <a:lnTo>
                  <a:pt x="0" y="4388681"/>
                </a:lnTo>
                <a:lnTo>
                  <a:pt x="0" y="2419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21">
            <a:extLst>
              <a:ext uri="{FF2B5EF4-FFF2-40B4-BE49-F238E27FC236}">
                <a16:creationId xmlns:a16="http://schemas.microsoft.com/office/drawing/2014/main" id="{28FD84B1-3C5F-4A6E-8F37-DC31AB76CAD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31110" y="0"/>
            <a:ext cx="7460889" cy="5848350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8681"/>
              <a:gd name="connsiteX1" fmla="*/ 5595667 w 5595667"/>
              <a:gd name="connsiteY1" fmla="*/ 0 h 4388681"/>
              <a:gd name="connsiteX2" fmla="*/ 5595667 w 5595667"/>
              <a:gd name="connsiteY2" fmla="*/ 4386262 h 4388681"/>
              <a:gd name="connsiteX3" fmla="*/ 2102152 w 5595667"/>
              <a:gd name="connsiteY3" fmla="*/ 4388681 h 4388681"/>
              <a:gd name="connsiteX4" fmla="*/ 0 w 5595667"/>
              <a:gd name="connsiteY4" fmla="*/ 0 h 4388681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3843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6262 h 4386262"/>
              <a:gd name="connsiteX4" fmla="*/ 0 w 5595667"/>
              <a:gd name="connsiteY4" fmla="*/ 0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6262">
                <a:moveTo>
                  <a:pt x="0" y="0"/>
                </a:moveTo>
                <a:lnTo>
                  <a:pt x="5595667" y="0"/>
                </a:lnTo>
                <a:lnTo>
                  <a:pt x="5595667" y="4386262"/>
                </a:lnTo>
                <a:lnTo>
                  <a:pt x="2102152" y="4386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1883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1">
            <a:extLst>
              <a:ext uri="{FF2B5EF4-FFF2-40B4-BE49-F238E27FC236}">
                <a16:creationId xmlns:a16="http://schemas.microsoft.com/office/drawing/2014/main" id="{1E3A6839-94DD-4584-B049-304E6FF1D0F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6000"/>
            <a:ext cx="4864777" cy="4832349"/>
          </a:xfrm>
          <a:custGeom>
            <a:avLst/>
            <a:gdLst>
              <a:gd name="connsiteX0" fmla="*/ 0 w 3648583"/>
              <a:gd name="connsiteY0" fmla="*/ 0 h 3624262"/>
              <a:gd name="connsiteX1" fmla="*/ 364858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  <a:gd name="connsiteX0" fmla="*/ 0 w 3648583"/>
              <a:gd name="connsiteY0" fmla="*/ 0 h 3624262"/>
              <a:gd name="connsiteX1" fmla="*/ 1915033 w 3648583"/>
              <a:gd name="connsiteY1" fmla="*/ 0 h 3624262"/>
              <a:gd name="connsiteX2" fmla="*/ 3648583 w 3648583"/>
              <a:gd name="connsiteY2" fmla="*/ 3624262 h 3624262"/>
              <a:gd name="connsiteX3" fmla="*/ 0 w 3648583"/>
              <a:gd name="connsiteY3" fmla="*/ 3624262 h 3624262"/>
              <a:gd name="connsiteX4" fmla="*/ 0 w 364858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8583" h="3624262">
                <a:moveTo>
                  <a:pt x="0" y="0"/>
                </a:moveTo>
                <a:lnTo>
                  <a:pt x="1915033" y="0"/>
                </a:lnTo>
                <a:lnTo>
                  <a:pt x="3648583" y="3624262"/>
                </a:lnTo>
                <a:lnTo>
                  <a:pt x="0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Bildplatzhalter 21">
            <a:extLst>
              <a:ext uri="{FF2B5EF4-FFF2-40B4-BE49-F238E27FC236}">
                <a16:creationId xmlns:a16="http://schemas.microsoft.com/office/drawing/2014/main" id="{80DCE87E-665C-4F26-B7E0-9A5523307C8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97909" y="1016000"/>
            <a:ext cx="4894091" cy="4832349"/>
          </a:xfrm>
          <a:custGeom>
            <a:avLst/>
            <a:gdLst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0 w 3670568"/>
              <a:gd name="connsiteY3" fmla="*/ 3624262 h 3624262"/>
              <a:gd name="connsiteX4" fmla="*/ 0 w 3670568"/>
              <a:gd name="connsiteY4" fmla="*/ 0 h 3624262"/>
              <a:gd name="connsiteX0" fmla="*/ 0 w 3670568"/>
              <a:gd name="connsiteY0" fmla="*/ 0 h 3624262"/>
              <a:gd name="connsiteX1" fmla="*/ 3670568 w 3670568"/>
              <a:gd name="connsiteY1" fmla="*/ 0 h 3624262"/>
              <a:gd name="connsiteX2" fmla="*/ 3670568 w 3670568"/>
              <a:gd name="connsiteY2" fmla="*/ 3624262 h 3624262"/>
              <a:gd name="connsiteX3" fmla="*/ 1735931 w 3670568"/>
              <a:gd name="connsiteY3" fmla="*/ 3624262 h 3624262"/>
              <a:gd name="connsiteX4" fmla="*/ 0 w 3670568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70568" h="3624262">
                <a:moveTo>
                  <a:pt x="0" y="0"/>
                </a:moveTo>
                <a:lnTo>
                  <a:pt x="3670568" y="0"/>
                </a:lnTo>
                <a:lnTo>
                  <a:pt x="3670568" y="3624262"/>
                </a:lnTo>
                <a:lnTo>
                  <a:pt x="1735931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7" name="Bildplatzhalter 21">
            <a:extLst>
              <a:ext uri="{FF2B5EF4-FFF2-40B4-BE49-F238E27FC236}">
                <a16:creationId xmlns:a16="http://schemas.microsoft.com/office/drawing/2014/main" id="{C9BA9FBD-B328-45A8-804F-0500B3CD6A5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44619" y="1016000"/>
            <a:ext cx="5994405" cy="4832349"/>
          </a:xfrm>
          <a:custGeom>
            <a:avLst/>
            <a:gdLst>
              <a:gd name="connsiteX0" fmla="*/ 0 w 4495803"/>
              <a:gd name="connsiteY0" fmla="*/ 0 h 3624262"/>
              <a:gd name="connsiteX1" fmla="*/ 4495803 w 4495803"/>
              <a:gd name="connsiteY1" fmla="*/ 0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2381 h 3626643"/>
              <a:gd name="connsiteX1" fmla="*/ 2764634 w 4495803"/>
              <a:gd name="connsiteY1" fmla="*/ 0 h 3626643"/>
              <a:gd name="connsiteX2" fmla="*/ 4495803 w 4495803"/>
              <a:gd name="connsiteY2" fmla="*/ 3626643 h 3626643"/>
              <a:gd name="connsiteX3" fmla="*/ 0 w 4495803"/>
              <a:gd name="connsiteY3" fmla="*/ 3626643 h 3626643"/>
              <a:gd name="connsiteX4" fmla="*/ 0 w 4495803"/>
              <a:gd name="connsiteY4" fmla="*/ 2381 h 3626643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0 w 4495803"/>
              <a:gd name="connsiteY3" fmla="*/ 3624262 h 3624262"/>
              <a:gd name="connsiteX4" fmla="*/ 0 w 4495803"/>
              <a:gd name="connsiteY4" fmla="*/ 0 h 3624262"/>
              <a:gd name="connsiteX0" fmla="*/ 0 w 4495803"/>
              <a:gd name="connsiteY0" fmla="*/ 0 h 3624262"/>
              <a:gd name="connsiteX1" fmla="*/ 2762253 w 4495803"/>
              <a:gd name="connsiteY1" fmla="*/ 1 h 3624262"/>
              <a:gd name="connsiteX2" fmla="*/ 4495803 w 4495803"/>
              <a:gd name="connsiteY2" fmla="*/ 3624262 h 3624262"/>
              <a:gd name="connsiteX3" fmla="*/ 1731168 w 4495803"/>
              <a:gd name="connsiteY3" fmla="*/ 3624262 h 3624262"/>
              <a:gd name="connsiteX4" fmla="*/ 0 w 4495803"/>
              <a:gd name="connsiteY4" fmla="*/ 0 h 36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95803" h="3624262">
                <a:moveTo>
                  <a:pt x="0" y="0"/>
                </a:moveTo>
                <a:lnTo>
                  <a:pt x="2762253" y="1"/>
                </a:lnTo>
                <a:lnTo>
                  <a:pt x="4495803" y="3624262"/>
                </a:lnTo>
                <a:lnTo>
                  <a:pt x="1731168" y="3624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7775D768-A633-4118-B5C7-2F3DFD9F52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583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1">
            <a:extLst>
              <a:ext uri="{FF2B5EF4-FFF2-40B4-BE49-F238E27FC236}">
                <a16:creationId xmlns:a16="http://schemas.microsoft.com/office/drawing/2014/main" id="{F6835963-99FF-4A3C-A109-A75FC6EBCF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6" y="1015684"/>
            <a:ext cx="6750892" cy="4832667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4500">
                <a:moveTo>
                  <a:pt x="0" y="238"/>
                </a:moveTo>
                <a:lnTo>
                  <a:pt x="3331072" y="0"/>
                </a:lnTo>
                <a:lnTo>
                  <a:pt x="5063169" y="3624500"/>
                </a:lnTo>
                <a:lnTo>
                  <a:pt x="0" y="3624500"/>
                </a:lnTo>
                <a:lnTo>
                  <a:pt x="0" y="238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21">
            <a:extLst>
              <a:ext uri="{FF2B5EF4-FFF2-40B4-BE49-F238E27FC236}">
                <a16:creationId xmlns:a16="http://schemas.microsoft.com/office/drawing/2014/main" id="{0477E770-F5E0-401B-BCB0-9D9D8A0355C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30733" y="1016001"/>
            <a:ext cx="6761267" cy="2380566"/>
          </a:xfrm>
          <a:custGeom>
            <a:avLst/>
            <a:gdLst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0 w 5070950"/>
              <a:gd name="connsiteY3" fmla="*/ 1785424 h 1785424"/>
              <a:gd name="connsiteX4" fmla="*/ 0 w 5070950"/>
              <a:gd name="connsiteY4" fmla="*/ 0 h 1785424"/>
              <a:gd name="connsiteX0" fmla="*/ 0 w 5070950"/>
              <a:gd name="connsiteY0" fmla="*/ 0 h 1785424"/>
              <a:gd name="connsiteX1" fmla="*/ 5070950 w 5070950"/>
              <a:gd name="connsiteY1" fmla="*/ 0 h 1785424"/>
              <a:gd name="connsiteX2" fmla="*/ 5070950 w 5070950"/>
              <a:gd name="connsiteY2" fmla="*/ 1785424 h 1785424"/>
              <a:gd name="connsiteX3" fmla="*/ 854869 w 5070950"/>
              <a:gd name="connsiteY3" fmla="*/ 1785424 h 1785424"/>
              <a:gd name="connsiteX4" fmla="*/ 0 w 5070950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0950" h="1785424">
                <a:moveTo>
                  <a:pt x="0" y="0"/>
                </a:moveTo>
                <a:lnTo>
                  <a:pt x="5070950" y="0"/>
                </a:lnTo>
                <a:lnTo>
                  <a:pt x="5070950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21">
            <a:extLst>
              <a:ext uri="{FF2B5EF4-FFF2-40B4-BE49-F238E27FC236}">
                <a16:creationId xmlns:a16="http://schemas.microsoft.com/office/drawing/2014/main" id="{338637C0-A93B-4AA6-A323-B2CD84B1C1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0827" y="3461433"/>
            <a:ext cx="5591173" cy="2386917"/>
          </a:xfrm>
          <a:custGeom>
            <a:avLst/>
            <a:gdLst>
              <a:gd name="connsiteX0" fmla="*/ 0 w 3338511"/>
              <a:gd name="connsiteY0" fmla="*/ 0 h 1790188"/>
              <a:gd name="connsiteX1" fmla="*/ 3338511 w 3338511"/>
              <a:gd name="connsiteY1" fmla="*/ 0 h 1790188"/>
              <a:gd name="connsiteX2" fmla="*/ 3338511 w 3338511"/>
              <a:gd name="connsiteY2" fmla="*/ 1790188 h 1790188"/>
              <a:gd name="connsiteX3" fmla="*/ 0 w 3338511"/>
              <a:gd name="connsiteY3" fmla="*/ 1790188 h 1790188"/>
              <a:gd name="connsiteX4" fmla="*/ 0 w 3338511"/>
              <a:gd name="connsiteY4" fmla="*/ 0 h 1790188"/>
              <a:gd name="connsiteX0" fmla="*/ 0 w 4190998"/>
              <a:gd name="connsiteY0" fmla="*/ 2381 h 1790188"/>
              <a:gd name="connsiteX1" fmla="*/ 4190998 w 4190998"/>
              <a:gd name="connsiteY1" fmla="*/ 0 h 1790188"/>
              <a:gd name="connsiteX2" fmla="*/ 4190998 w 4190998"/>
              <a:gd name="connsiteY2" fmla="*/ 1790188 h 1790188"/>
              <a:gd name="connsiteX3" fmla="*/ 852487 w 4190998"/>
              <a:gd name="connsiteY3" fmla="*/ 1790188 h 1790188"/>
              <a:gd name="connsiteX4" fmla="*/ 0 w 4190998"/>
              <a:gd name="connsiteY4" fmla="*/ 2381 h 1790188"/>
              <a:gd name="connsiteX0" fmla="*/ 0 w 4193380"/>
              <a:gd name="connsiteY0" fmla="*/ 0 h 1790188"/>
              <a:gd name="connsiteX1" fmla="*/ 4193380 w 4193380"/>
              <a:gd name="connsiteY1" fmla="*/ 0 h 1790188"/>
              <a:gd name="connsiteX2" fmla="*/ 4193380 w 4193380"/>
              <a:gd name="connsiteY2" fmla="*/ 1790188 h 1790188"/>
              <a:gd name="connsiteX3" fmla="*/ 854869 w 4193380"/>
              <a:gd name="connsiteY3" fmla="*/ 1790188 h 1790188"/>
              <a:gd name="connsiteX4" fmla="*/ 0 w 4193380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93380" h="1790188">
                <a:moveTo>
                  <a:pt x="0" y="0"/>
                </a:moveTo>
                <a:lnTo>
                  <a:pt x="4193380" y="0"/>
                </a:lnTo>
                <a:lnTo>
                  <a:pt x="4193380" y="1790188"/>
                </a:lnTo>
                <a:lnTo>
                  <a:pt x="854869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2A34CF17-47B0-4417-B30F-BDEA62A858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31988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21">
            <a:extLst>
              <a:ext uri="{FF2B5EF4-FFF2-40B4-BE49-F238E27FC236}">
                <a16:creationId xmlns:a16="http://schemas.microsoft.com/office/drawing/2014/main" id="{BCB5A6FE-F83F-481B-A44E-0015489295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0955" y="3461433"/>
            <a:ext cx="4297994" cy="2386917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3223495"/>
              <a:gd name="connsiteY0" fmla="*/ 0 h 1790188"/>
              <a:gd name="connsiteX1" fmla="*/ 2371940 w 3223495"/>
              <a:gd name="connsiteY1" fmla="*/ 3142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3495" h="1790188">
                <a:moveTo>
                  <a:pt x="0" y="0"/>
                </a:moveTo>
                <a:lnTo>
                  <a:pt x="2371940" y="3142"/>
                </a:lnTo>
                <a:lnTo>
                  <a:pt x="3223495" y="1790188"/>
                </a:lnTo>
                <a:lnTo>
                  <a:pt x="0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21">
            <a:extLst>
              <a:ext uri="{FF2B5EF4-FFF2-40B4-BE49-F238E27FC236}">
                <a16:creationId xmlns:a16="http://schemas.microsoft.com/office/drawing/2014/main" id="{B1BB259A-7D20-4F2B-8A88-6221557211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26152" y="1016000"/>
            <a:ext cx="6165848" cy="2380566"/>
          </a:xfrm>
          <a:custGeom>
            <a:avLst/>
            <a:gdLst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0 w 4624386"/>
              <a:gd name="connsiteY3" fmla="*/ 1785424 h 1785424"/>
              <a:gd name="connsiteX4" fmla="*/ 0 w 4624386"/>
              <a:gd name="connsiteY4" fmla="*/ 0 h 1785424"/>
              <a:gd name="connsiteX0" fmla="*/ 0 w 4624386"/>
              <a:gd name="connsiteY0" fmla="*/ 0 h 1785424"/>
              <a:gd name="connsiteX1" fmla="*/ 4624386 w 4624386"/>
              <a:gd name="connsiteY1" fmla="*/ 0 h 1785424"/>
              <a:gd name="connsiteX2" fmla="*/ 4624386 w 4624386"/>
              <a:gd name="connsiteY2" fmla="*/ 1785424 h 1785424"/>
              <a:gd name="connsiteX3" fmla="*/ 854869 w 4624386"/>
              <a:gd name="connsiteY3" fmla="*/ 1785424 h 1785424"/>
              <a:gd name="connsiteX4" fmla="*/ 0 w 4624386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4386" h="1785424">
                <a:moveTo>
                  <a:pt x="0" y="0"/>
                </a:moveTo>
                <a:lnTo>
                  <a:pt x="4624386" y="0"/>
                </a:lnTo>
                <a:lnTo>
                  <a:pt x="4624386" y="1785424"/>
                </a:lnTo>
                <a:lnTo>
                  <a:pt x="854869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21">
            <a:extLst>
              <a:ext uri="{FF2B5EF4-FFF2-40B4-BE49-F238E27FC236}">
                <a16:creationId xmlns:a16="http://schemas.microsoft.com/office/drawing/2014/main" id="{D1D97D89-3380-41C0-A5E9-03F9AD14915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0955" y="1016000"/>
            <a:ext cx="6171997" cy="2380566"/>
          </a:xfrm>
          <a:custGeom>
            <a:avLst/>
            <a:gdLst>
              <a:gd name="connsiteX0" fmla="*/ 0 w 4628998"/>
              <a:gd name="connsiteY0" fmla="*/ 0 h 1785424"/>
              <a:gd name="connsiteX1" fmla="*/ 4628998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  <a:gd name="connsiteX0" fmla="*/ 0 w 4628998"/>
              <a:gd name="connsiteY0" fmla="*/ 0 h 1785424"/>
              <a:gd name="connsiteX1" fmla="*/ 3781273 w 4628998"/>
              <a:gd name="connsiteY1" fmla="*/ 0 h 1785424"/>
              <a:gd name="connsiteX2" fmla="*/ 4628998 w 4628998"/>
              <a:gd name="connsiteY2" fmla="*/ 1785424 h 1785424"/>
              <a:gd name="connsiteX3" fmla="*/ 0 w 4628998"/>
              <a:gd name="connsiteY3" fmla="*/ 1785424 h 1785424"/>
              <a:gd name="connsiteX4" fmla="*/ 0 w 4628998"/>
              <a:gd name="connsiteY4" fmla="*/ 0 h 178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8998" h="1785424">
                <a:moveTo>
                  <a:pt x="0" y="0"/>
                </a:moveTo>
                <a:lnTo>
                  <a:pt x="3781273" y="0"/>
                </a:lnTo>
                <a:lnTo>
                  <a:pt x="4628998" y="1785424"/>
                </a:lnTo>
                <a:lnTo>
                  <a:pt x="0" y="17854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21">
            <a:extLst>
              <a:ext uri="{FF2B5EF4-FFF2-40B4-BE49-F238E27FC236}">
                <a16:creationId xmlns:a16="http://schemas.microsoft.com/office/drawing/2014/main" id="{2B135A71-655E-43AC-8825-9C0FB6E91C7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59515" y="3461433"/>
            <a:ext cx="4815313" cy="2386917"/>
          </a:xfrm>
          <a:custGeom>
            <a:avLst/>
            <a:gdLst>
              <a:gd name="connsiteX0" fmla="*/ 0 w 3223495"/>
              <a:gd name="connsiteY0" fmla="*/ 0 h 1790188"/>
              <a:gd name="connsiteX1" fmla="*/ 3223495 w 3223495"/>
              <a:gd name="connsiteY1" fmla="*/ 0 h 1790188"/>
              <a:gd name="connsiteX2" fmla="*/ 3223495 w 3223495"/>
              <a:gd name="connsiteY2" fmla="*/ 1790188 h 1790188"/>
              <a:gd name="connsiteX3" fmla="*/ 0 w 3223495"/>
              <a:gd name="connsiteY3" fmla="*/ 1790188 h 1790188"/>
              <a:gd name="connsiteX4" fmla="*/ 0 w 3223495"/>
              <a:gd name="connsiteY4" fmla="*/ 0 h 1790188"/>
              <a:gd name="connsiteX0" fmla="*/ 0 w 4068838"/>
              <a:gd name="connsiteY0" fmla="*/ 2381 h 1790188"/>
              <a:gd name="connsiteX1" fmla="*/ 4068838 w 4068838"/>
              <a:gd name="connsiteY1" fmla="*/ 0 h 1790188"/>
              <a:gd name="connsiteX2" fmla="*/ 4068838 w 4068838"/>
              <a:gd name="connsiteY2" fmla="*/ 1790188 h 1790188"/>
              <a:gd name="connsiteX3" fmla="*/ 845343 w 4068838"/>
              <a:gd name="connsiteY3" fmla="*/ 1790188 h 1790188"/>
              <a:gd name="connsiteX4" fmla="*/ 0 w 4068838"/>
              <a:gd name="connsiteY4" fmla="*/ 2381 h 1790188"/>
              <a:gd name="connsiteX0" fmla="*/ 0 w 4071220"/>
              <a:gd name="connsiteY0" fmla="*/ 2381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2381 h 1790188"/>
              <a:gd name="connsiteX0" fmla="*/ 0 w 4071220"/>
              <a:gd name="connsiteY0" fmla="*/ 0 h 1790188"/>
              <a:gd name="connsiteX1" fmla="*/ 4071220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4071220"/>
              <a:gd name="connsiteY0" fmla="*/ 0 h 1790188"/>
              <a:gd name="connsiteX1" fmla="*/ 2761532 w 4071220"/>
              <a:gd name="connsiteY1" fmla="*/ 0 h 1790188"/>
              <a:gd name="connsiteX2" fmla="*/ 4071220 w 4071220"/>
              <a:gd name="connsiteY2" fmla="*/ 1790188 h 1790188"/>
              <a:gd name="connsiteX3" fmla="*/ 847725 w 4071220"/>
              <a:gd name="connsiteY3" fmla="*/ 1790188 h 1790188"/>
              <a:gd name="connsiteX4" fmla="*/ 0 w 4071220"/>
              <a:gd name="connsiteY4" fmla="*/ 0 h 1790188"/>
              <a:gd name="connsiteX0" fmla="*/ 0 w 3616401"/>
              <a:gd name="connsiteY0" fmla="*/ 0 h 1790188"/>
              <a:gd name="connsiteX1" fmla="*/ 2761532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6401"/>
              <a:gd name="connsiteY0" fmla="*/ 0 h 1790188"/>
              <a:gd name="connsiteX1" fmla="*/ 2754157 w 3616401"/>
              <a:gd name="connsiteY1" fmla="*/ 0 h 1790188"/>
              <a:gd name="connsiteX2" fmla="*/ 3616401 w 3616401"/>
              <a:gd name="connsiteY2" fmla="*/ 1790188 h 1790188"/>
              <a:gd name="connsiteX3" fmla="*/ 847725 w 3616401"/>
              <a:gd name="connsiteY3" fmla="*/ 1790188 h 1790188"/>
              <a:gd name="connsiteX4" fmla="*/ 0 w 3616401"/>
              <a:gd name="connsiteY4" fmla="*/ 0 h 1790188"/>
              <a:gd name="connsiteX0" fmla="*/ 0 w 3611485"/>
              <a:gd name="connsiteY0" fmla="*/ 0 h 1790188"/>
              <a:gd name="connsiteX1" fmla="*/ 2754157 w 3611485"/>
              <a:gd name="connsiteY1" fmla="*/ 0 h 1790188"/>
              <a:gd name="connsiteX2" fmla="*/ 3611485 w 3611485"/>
              <a:gd name="connsiteY2" fmla="*/ 1790188 h 1790188"/>
              <a:gd name="connsiteX3" fmla="*/ 847725 w 3611485"/>
              <a:gd name="connsiteY3" fmla="*/ 1790188 h 1790188"/>
              <a:gd name="connsiteX4" fmla="*/ 0 w 3611485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1485" h="1790188">
                <a:moveTo>
                  <a:pt x="0" y="0"/>
                </a:moveTo>
                <a:lnTo>
                  <a:pt x="2754157" y="0"/>
                </a:lnTo>
                <a:lnTo>
                  <a:pt x="3611485" y="1790188"/>
                </a:lnTo>
                <a:lnTo>
                  <a:pt x="847725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7" name="Bildplatzhalter 21">
            <a:extLst>
              <a:ext uri="{FF2B5EF4-FFF2-40B4-BE49-F238E27FC236}">
                <a16:creationId xmlns:a16="http://schemas.microsoft.com/office/drawing/2014/main" id="{DCFB798B-032F-40A6-AE3A-243C82FD9E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02577" y="3461433"/>
            <a:ext cx="4289425" cy="2386917"/>
          </a:xfrm>
          <a:custGeom>
            <a:avLst/>
            <a:gdLst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0 w 3217069"/>
              <a:gd name="connsiteY3" fmla="*/ 1790188 h 1790188"/>
              <a:gd name="connsiteX4" fmla="*/ 0 w 3217069"/>
              <a:gd name="connsiteY4" fmla="*/ 0 h 1790188"/>
              <a:gd name="connsiteX0" fmla="*/ 0 w 3217069"/>
              <a:gd name="connsiteY0" fmla="*/ 0 h 1790188"/>
              <a:gd name="connsiteX1" fmla="*/ 3217069 w 3217069"/>
              <a:gd name="connsiteY1" fmla="*/ 0 h 1790188"/>
              <a:gd name="connsiteX2" fmla="*/ 3217069 w 3217069"/>
              <a:gd name="connsiteY2" fmla="*/ 1790188 h 1790188"/>
              <a:gd name="connsiteX3" fmla="*/ 852488 w 3217069"/>
              <a:gd name="connsiteY3" fmla="*/ 1790188 h 1790188"/>
              <a:gd name="connsiteX4" fmla="*/ 0 w 3217069"/>
              <a:gd name="connsiteY4" fmla="*/ 0 h 1790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7069" h="1790188">
                <a:moveTo>
                  <a:pt x="0" y="0"/>
                </a:moveTo>
                <a:lnTo>
                  <a:pt x="3217069" y="0"/>
                </a:lnTo>
                <a:lnTo>
                  <a:pt x="3217069" y="1790188"/>
                </a:lnTo>
                <a:lnTo>
                  <a:pt x="852488" y="179018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3D3AFB44-2835-4DFF-8494-E551BDA84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957526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eere Folie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88F6DB68-6D18-4A86-9099-34C691E34D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026" y="317115"/>
            <a:ext cx="11492866" cy="44270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/>
            </a:lvl1pPr>
          </a:lstStyle>
          <a:p>
            <a:pPr algn="l"/>
            <a:r>
              <a:rPr lang="de-DE" sz="2877" b="1"/>
              <a:t>Überschrift durch Klicken hinzufüg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73D8AD1-DA13-4BF4-BEEB-475F24F94BF1}"/>
              </a:ext>
            </a:extLst>
          </p:cNvPr>
          <p:cNvSpPr/>
          <p:nvPr userDrawn="1"/>
        </p:nvSpPr>
        <p:spPr>
          <a:xfrm>
            <a:off x="912286" y="1009650"/>
            <a:ext cx="11279716" cy="48387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 err="1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1172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leere Folie (ohne Überschrift &amp; Contentbere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winkliges Dreieck 1">
            <a:extLst>
              <a:ext uri="{FF2B5EF4-FFF2-40B4-BE49-F238E27FC236}">
                <a16:creationId xmlns:a16="http://schemas.microsoft.com/office/drawing/2014/main" id="{6A8FDD1B-3C1E-4FF2-8C55-FD9C0BD96512}"/>
              </a:ext>
            </a:extLst>
          </p:cNvPr>
          <p:cNvSpPr/>
          <p:nvPr userDrawn="1"/>
        </p:nvSpPr>
        <p:spPr>
          <a:xfrm>
            <a:off x="2" y="0"/>
            <a:ext cx="5511800" cy="6858000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 eaLnBrk="1"/>
            <a:endParaRPr lang="de-DE" sz="2400">
              <a:latin typeface="+mj-lt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271C1616-0B5C-4DF7-8B2F-962511F31CE0}"/>
              </a:ext>
            </a:extLst>
          </p:cNvPr>
          <p:cNvSpPr/>
          <p:nvPr userDrawn="1"/>
        </p:nvSpPr>
        <p:spPr>
          <a:xfrm>
            <a:off x="-1717" y="6022400"/>
            <a:ext cx="859887" cy="500919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>
              <a:latin typeface="+mj-lt"/>
            </a:endParaRPr>
          </a:p>
        </p:txBody>
      </p:sp>
      <p:sp>
        <p:nvSpPr>
          <p:cNvPr id="6" name="textBoxPageXFromY">
            <a:extLst>
              <a:ext uri="{FF2B5EF4-FFF2-40B4-BE49-F238E27FC236}">
                <a16:creationId xmlns:a16="http://schemas.microsoft.com/office/drawing/2014/main" id="{4CACF3C0-820D-4E32-A662-70C751300069}"/>
              </a:ext>
            </a:extLst>
          </p:cNvPr>
          <p:cNvSpPr txBox="1">
            <a:spLocks/>
          </p:cNvSpPr>
          <p:nvPr userDrawn="1"/>
        </p:nvSpPr>
        <p:spPr>
          <a:xfrm>
            <a:off x="-1715" y="6104003"/>
            <a:ext cx="712117" cy="36618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9A2F21-4C61-4C7B-ACD9-58995BD3F758}" type="slidenum">
              <a:rPr lang="de-DE" sz="1079" smtClean="0"/>
              <a:t>‹Nr.›</a:t>
            </a:fld>
            <a:endParaRPr lang="de-DE" sz="1079"/>
          </a:p>
        </p:txBody>
      </p:sp>
      <p:grpSp>
        <p:nvGrpSpPr>
          <p:cNvPr id="8" name="picPorsche">
            <a:extLst>
              <a:ext uri="{FF2B5EF4-FFF2-40B4-BE49-F238E27FC236}">
                <a16:creationId xmlns:a16="http://schemas.microsoft.com/office/drawing/2014/main" id="{79E2F1D2-F9BF-476D-951E-6BFD8B0C413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61280" y="6223965"/>
            <a:ext cx="2400000" cy="180756"/>
            <a:chOff x="3848100" y="2519363"/>
            <a:chExt cx="1452563" cy="109538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9A1C94E-D7CE-4614-BD4D-2F959E632D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813" y="2519363"/>
              <a:ext cx="196850" cy="109538"/>
            </a:xfrm>
            <a:custGeom>
              <a:avLst/>
              <a:gdLst>
                <a:gd name="T0" fmla="*/ 124 w 124"/>
                <a:gd name="T1" fmla="*/ 12 h 69"/>
                <a:gd name="T2" fmla="*/ 124 w 124"/>
                <a:gd name="T3" fmla="*/ 0 h 69"/>
                <a:gd name="T4" fmla="*/ 0 w 124"/>
                <a:gd name="T5" fmla="*/ 0 h 69"/>
                <a:gd name="T6" fmla="*/ 0 w 124"/>
                <a:gd name="T7" fmla="*/ 69 h 69"/>
                <a:gd name="T8" fmla="*/ 124 w 124"/>
                <a:gd name="T9" fmla="*/ 69 h 69"/>
                <a:gd name="T10" fmla="*/ 124 w 124"/>
                <a:gd name="T11" fmla="*/ 57 h 69"/>
                <a:gd name="T12" fmla="*/ 13 w 124"/>
                <a:gd name="T13" fmla="*/ 57 h 69"/>
                <a:gd name="T14" fmla="*/ 13 w 124"/>
                <a:gd name="T15" fmla="*/ 39 h 69"/>
                <a:gd name="T16" fmla="*/ 124 w 124"/>
                <a:gd name="T17" fmla="*/ 39 h 69"/>
                <a:gd name="T18" fmla="*/ 124 w 124"/>
                <a:gd name="T19" fmla="*/ 27 h 69"/>
                <a:gd name="T20" fmla="*/ 13 w 124"/>
                <a:gd name="T21" fmla="*/ 27 h 69"/>
                <a:gd name="T22" fmla="*/ 13 w 124"/>
                <a:gd name="T23" fmla="*/ 12 h 69"/>
                <a:gd name="T24" fmla="*/ 124 w 124"/>
                <a:gd name="T25" fmla="*/ 1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69">
                  <a:moveTo>
                    <a:pt x="124" y="12"/>
                  </a:moveTo>
                  <a:lnTo>
                    <a:pt x="124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24" y="69"/>
                  </a:lnTo>
                  <a:lnTo>
                    <a:pt x="124" y="57"/>
                  </a:lnTo>
                  <a:lnTo>
                    <a:pt x="13" y="57"/>
                  </a:lnTo>
                  <a:lnTo>
                    <a:pt x="13" y="39"/>
                  </a:lnTo>
                  <a:lnTo>
                    <a:pt x="124" y="39"/>
                  </a:lnTo>
                  <a:lnTo>
                    <a:pt x="124" y="27"/>
                  </a:lnTo>
                  <a:lnTo>
                    <a:pt x="13" y="27"/>
                  </a:lnTo>
                  <a:lnTo>
                    <a:pt x="13" y="12"/>
                  </a:lnTo>
                  <a:lnTo>
                    <a:pt x="124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34DD7EF-69B2-4431-9FA9-B389E38B21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3788" y="2519363"/>
              <a:ext cx="174625" cy="109538"/>
            </a:xfrm>
            <a:custGeom>
              <a:avLst/>
              <a:gdLst>
                <a:gd name="T0" fmla="*/ 96 w 110"/>
                <a:gd name="T1" fmla="*/ 27 h 69"/>
                <a:gd name="T2" fmla="*/ 13 w 110"/>
                <a:gd name="T3" fmla="*/ 27 h 69"/>
                <a:gd name="T4" fmla="*/ 13 w 110"/>
                <a:gd name="T5" fmla="*/ 0 h 69"/>
                <a:gd name="T6" fmla="*/ 0 w 110"/>
                <a:gd name="T7" fmla="*/ 0 h 69"/>
                <a:gd name="T8" fmla="*/ 0 w 110"/>
                <a:gd name="T9" fmla="*/ 69 h 69"/>
                <a:gd name="T10" fmla="*/ 13 w 110"/>
                <a:gd name="T11" fmla="*/ 69 h 69"/>
                <a:gd name="T12" fmla="*/ 13 w 110"/>
                <a:gd name="T13" fmla="*/ 42 h 69"/>
                <a:gd name="T14" fmla="*/ 96 w 110"/>
                <a:gd name="T15" fmla="*/ 42 h 69"/>
                <a:gd name="T16" fmla="*/ 96 w 110"/>
                <a:gd name="T17" fmla="*/ 69 h 69"/>
                <a:gd name="T18" fmla="*/ 110 w 110"/>
                <a:gd name="T19" fmla="*/ 69 h 69"/>
                <a:gd name="T20" fmla="*/ 110 w 110"/>
                <a:gd name="T21" fmla="*/ 42 h 69"/>
                <a:gd name="T22" fmla="*/ 110 w 110"/>
                <a:gd name="T23" fmla="*/ 27 h 69"/>
                <a:gd name="T24" fmla="*/ 110 w 110"/>
                <a:gd name="T25" fmla="*/ 0 h 69"/>
                <a:gd name="T26" fmla="*/ 96 w 110"/>
                <a:gd name="T27" fmla="*/ 0 h 69"/>
                <a:gd name="T28" fmla="*/ 96 w 110"/>
                <a:gd name="T2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" h="69">
                  <a:moveTo>
                    <a:pt x="96" y="27"/>
                  </a:moveTo>
                  <a:lnTo>
                    <a:pt x="13" y="27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3" y="69"/>
                  </a:lnTo>
                  <a:lnTo>
                    <a:pt x="13" y="42"/>
                  </a:lnTo>
                  <a:lnTo>
                    <a:pt x="96" y="42"/>
                  </a:lnTo>
                  <a:lnTo>
                    <a:pt x="96" y="69"/>
                  </a:lnTo>
                  <a:lnTo>
                    <a:pt x="110" y="69"/>
                  </a:lnTo>
                  <a:lnTo>
                    <a:pt x="110" y="42"/>
                  </a:lnTo>
                  <a:lnTo>
                    <a:pt x="110" y="27"/>
                  </a:lnTo>
                  <a:lnTo>
                    <a:pt x="110" y="0"/>
                  </a:lnTo>
                  <a:lnTo>
                    <a:pt x="96" y="0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4D32ADAA-9BC8-4BE9-84A9-4255DEDE0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7413" y="2519363"/>
              <a:ext cx="179388" cy="109538"/>
            </a:xfrm>
            <a:custGeom>
              <a:avLst/>
              <a:gdLst>
                <a:gd name="T0" fmla="*/ 0 w 42"/>
                <a:gd name="T1" fmla="*/ 5 h 23"/>
                <a:gd name="T2" fmla="*/ 0 w 42"/>
                <a:gd name="T3" fmla="*/ 18 h 23"/>
                <a:gd name="T4" fmla="*/ 5 w 42"/>
                <a:gd name="T5" fmla="*/ 23 h 23"/>
                <a:gd name="T6" fmla="*/ 42 w 42"/>
                <a:gd name="T7" fmla="*/ 23 h 23"/>
                <a:gd name="T8" fmla="*/ 42 w 42"/>
                <a:gd name="T9" fmla="*/ 18 h 23"/>
                <a:gd name="T10" fmla="*/ 6 w 42"/>
                <a:gd name="T11" fmla="*/ 18 h 23"/>
                <a:gd name="T12" fmla="*/ 5 w 42"/>
                <a:gd name="T13" fmla="*/ 17 h 23"/>
                <a:gd name="T14" fmla="*/ 5 w 42"/>
                <a:gd name="T15" fmla="*/ 5 h 23"/>
                <a:gd name="T16" fmla="*/ 6 w 42"/>
                <a:gd name="T17" fmla="*/ 5 h 23"/>
                <a:gd name="T18" fmla="*/ 42 w 42"/>
                <a:gd name="T19" fmla="*/ 5 h 23"/>
                <a:gd name="T20" fmla="*/ 42 w 42"/>
                <a:gd name="T21" fmla="*/ 0 h 23"/>
                <a:gd name="T22" fmla="*/ 5 w 42"/>
                <a:gd name="T23" fmla="*/ 0 h 23"/>
                <a:gd name="T24" fmla="*/ 0 w 42"/>
                <a:gd name="T25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0" y="5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2" y="23"/>
                    <a:pt x="5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7"/>
                    <a:pt x="5" y="1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3884BBF-B739-40F4-A9E7-B8ED67A89C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4688" y="2519363"/>
              <a:ext cx="187325" cy="109538"/>
            </a:xfrm>
            <a:custGeom>
              <a:avLst/>
              <a:gdLst>
                <a:gd name="T0" fmla="*/ 38 w 44"/>
                <a:gd name="T1" fmla="*/ 9 h 23"/>
                <a:gd name="T2" fmla="*/ 6 w 44"/>
                <a:gd name="T3" fmla="*/ 9 h 23"/>
                <a:gd name="T4" fmla="*/ 6 w 44"/>
                <a:gd name="T5" fmla="*/ 9 h 23"/>
                <a:gd name="T6" fmla="*/ 5 w 44"/>
                <a:gd name="T7" fmla="*/ 8 h 23"/>
                <a:gd name="T8" fmla="*/ 5 w 44"/>
                <a:gd name="T9" fmla="*/ 5 h 23"/>
                <a:gd name="T10" fmla="*/ 6 w 44"/>
                <a:gd name="T11" fmla="*/ 4 h 23"/>
                <a:gd name="T12" fmla="*/ 43 w 44"/>
                <a:gd name="T13" fmla="*/ 4 h 23"/>
                <a:gd name="T14" fmla="*/ 43 w 44"/>
                <a:gd name="T15" fmla="*/ 0 h 23"/>
                <a:gd name="T16" fmla="*/ 5 w 44"/>
                <a:gd name="T17" fmla="*/ 0 h 23"/>
                <a:gd name="T18" fmla="*/ 0 w 44"/>
                <a:gd name="T19" fmla="*/ 5 h 23"/>
                <a:gd name="T20" fmla="*/ 0 w 44"/>
                <a:gd name="T21" fmla="*/ 8 h 23"/>
                <a:gd name="T22" fmla="*/ 5 w 44"/>
                <a:gd name="T23" fmla="*/ 13 h 23"/>
                <a:gd name="T24" fmla="*/ 38 w 44"/>
                <a:gd name="T25" fmla="*/ 13 h 23"/>
                <a:gd name="T26" fmla="*/ 38 w 44"/>
                <a:gd name="T27" fmla="*/ 14 h 23"/>
                <a:gd name="T28" fmla="*/ 38 w 44"/>
                <a:gd name="T29" fmla="*/ 14 h 23"/>
                <a:gd name="T30" fmla="*/ 38 w 44"/>
                <a:gd name="T31" fmla="*/ 18 h 23"/>
                <a:gd name="T32" fmla="*/ 38 w 44"/>
                <a:gd name="T33" fmla="*/ 19 h 23"/>
                <a:gd name="T34" fmla="*/ 0 w 44"/>
                <a:gd name="T35" fmla="*/ 19 h 23"/>
                <a:gd name="T36" fmla="*/ 0 w 44"/>
                <a:gd name="T37" fmla="*/ 23 h 23"/>
                <a:gd name="T38" fmla="*/ 38 w 44"/>
                <a:gd name="T39" fmla="*/ 23 h 23"/>
                <a:gd name="T40" fmla="*/ 44 w 44"/>
                <a:gd name="T41" fmla="*/ 18 h 23"/>
                <a:gd name="T42" fmla="*/ 44 w 44"/>
                <a:gd name="T43" fmla="*/ 18 h 23"/>
                <a:gd name="T44" fmla="*/ 44 w 44"/>
                <a:gd name="T45" fmla="*/ 14 h 23"/>
                <a:gd name="T46" fmla="*/ 44 w 44"/>
                <a:gd name="T47" fmla="*/ 14 h 23"/>
                <a:gd name="T48" fmla="*/ 38 w 44"/>
                <a:gd name="T4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" h="23">
                  <a:moveTo>
                    <a:pt x="38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2" y="13"/>
                    <a:pt x="5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1"/>
                    <a:pt x="41" y="9"/>
                    <a:pt x="38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0B0E8C53-029A-4577-8FF1-00B7A21165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0375" y="2519363"/>
              <a:ext cx="188913" cy="109538"/>
            </a:xfrm>
            <a:custGeom>
              <a:avLst/>
              <a:gdLst>
                <a:gd name="T0" fmla="*/ 39 w 44"/>
                <a:gd name="T1" fmla="*/ 15 h 23"/>
                <a:gd name="T2" fmla="*/ 44 w 44"/>
                <a:gd name="T3" fmla="*/ 10 h 23"/>
                <a:gd name="T4" fmla="*/ 44 w 44"/>
                <a:gd name="T5" fmla="*/ 5 h 23"/>
                <a:gd name="T6" fmla="*/ 39 w 44"/>
                <a:gd name="T7" fmla="*/ 0 h 23"/>
                <a:gd name="T8" fmla="*/ 39 w 44"/>
                <a:gd name="T9" fmla="*/ 0 h 23"/>
                <a:gd name="T10" fmla="*/ 0 w 44"/>
                <a:gd name="T11" fmla="*/ 0 h 23"/>
                <a:gd name="T12" fmla="*/ 0 w 44"/>
                <a:gd name="T13" fmla="*/ 23 h 23"/>
                <a:gd name="T14" fmla="*/ 5 w 44"/>
                <a:gd name="T15" fmla="*/ 23 h 23"/>
                <a:gd name="T16" fmla="*/ 5 w 44"/>
                <a:gd name="T17" fmla="*/ 17 h 23"/>
                <a:gd name="T18" fmla="*/ 33 w 44"/>
                <a:gd name="T19" fmla="*/ 17 h 23"/>
                <a:gd name="T20" fmla="*/ 33 w 44"/>
                <a:gd name="T21" fmla="*/ 17 h 23"/>
                <a:gd name="T22" fmla="*/ 39 w 44"/>
                <a:gd name="T23" fmla="*/ 22 h 23"/>
                <a:gd name="T24" fmla="*/ 39 w 44"/>
                <a:gd name="T25" fmla="*/ 23 h 23"/>
                <a:gd name="T26" fmla="*/ 44 w 44"/>
                <a:gd name="T27" fmla="*/ 23 h 23"/>
                <a:gd name="T28" fmla="*/ 44 w 44"/>
                <a:gd name="T29" fmla="*/ 23 h 23"/>
                <a:gd name="T30" fmla="*/ 39 w 44"/>
                <a:gd name="T31" fmla="*/ 15 h 23"/>
                <a:gd name="T32" fmla="*/ 39 w 44"/>
                <a:gd name="T33" fmla="*/ 11 h 23"/>
                <a:gd name="T34" fmla="*/ 39 w 44"/>
                <a:gd name="T35" fmla="*/ 11 h 23"/>
                <a:gd name="T36" fmla="*/ 38 w 44"/>
                <a:gd name="T37" fmla="*/ 12 h 23"/>
                <a:gd name="T38" fmla="*/ 5 w 44"/>
                <a:gd name="T39" fmla="*/ 12 h 23"/>
                <a:gd name="T40" fmla="*/ 5 w 44"/>
                <a:gd name="T41" fmla="*/ 5 h 23"/>
                <a:gd name="T42" fmla="*/ 38 w 44"/>
                <a:gd name="T43" fmla="*/ 5 h 23"/>
                <a:gd name="T44" fmla="*/ 39 w 44"/>
                <a:gd name="T45" fmla="*/ 6 h 23"/>
                <a:gd name="T46" fmla="*/ 39 w 44"/>
                <a:gd name="T4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23">
                  <a:moveTo>
                    <a:pt x="39" y="15"/>
                  </a:moveTo>
                  <a:cubicBezTo>
                    <a:pt x="42" y="15"/>
                    <a:pt x="44" y="13"/>
                    <a:pt x="44" y="10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6" y="17"/>
                    <a:pt x="39" y="19"/>
                    <a:pt x="39" y="2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9"/>
                    <a:pt x="42" y="16"/>
                    <a:pt x="39" y="15"/>
                  </a:cubicBezTo>
                  <a:close/>
                  <a:moveTo>
                    <a:pt x="39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9" y="5"/>
                    <a:pt x="39" y="6"/>
                  </a:cubicBezTo>
                  <a:lnTo>
                    <a:pt x="39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49339E0-4183-4B34-AACB-45B199E251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57650" y="2519363"/>
              <a:ext cx="187325" cy="109538"/>
            </a:xfrm>
            <a:custGeom>
              <a:avLst/>
              <a:gdLst>
                <a:gd name="T0" fmla="*/ 39 w 44"/>
                <a:gd name="T1" fmla="*/ 0 h 23"/>
                <a:gd name="T2" fmla="*/ 39 w 44"/>
                <a:gd name="T3" fmla="*/ 0 h 23"/>
                <a:gd name="T4" fmla="*/ 6 w 44"/>
                <a:gd name="T5" fmla="*/ 0 h 23"/>
                <a:gd name="T6" fmla="*/ 0 w 44"/>
                <a:gd name="T7" fmla="*/ 5 h 23"/>
                <a:gd name="T8" fmla="*/ 0 w 44"/>
                <a:gd name="T9" fmla="*/ 18 h 23"/>
                <a:gd name="T10" fmla="*/ 6 w 44"/>
                <a:gd name="T11" fmla="*/ 23 h 23"/>
                <a:gd name="T12" fmla="*/ 38 w 44"/>
                <a:gd name="T13" fmla="*/ 23 h 23"/>
                <a:gd name="T14" fmla="*/ 44 w 44"/>
                <a:gd name="T15" fmla="*/ 18 h 23"/>
                <a:gd name="T16" fmla="*/ 44 w 44"/>
                <a:gd name="T17" fmla="*/ 18 h 23"/>
                <a:gd name="T18" fmla="*/ 44 w 44"/>
                <a:gd name="T19" fmla="*/ 18 h 23"/>
                <a:gd name="T20" fmla="*/ 44 w 44"/>
                <a:gd name="T21" fmla="*/ 5 h 23"/>
                <a:gd name="T22" fmla="*/ 39 w 44"/>
                <a:gd name="T23" fmla="*/ 0 h 23"/>
                <a:gd name="T24" fmla="*/ 38 w 44"/>
                <a:gd name="T25" fmla="*/ 17 h 23"/>
                <a:gd name="T26" fmla="*/ 38 w 44"/>
                <a:gd name="T27" fmla="*/ 18 h 23"/>
                <a:gd name="T28" fmla="*/ 6 w 44"/>
                <a:gd name="T29" fmla="*/ 18 h 23"/>
                <a:gd name="T30" fmla="*/ 6 w 44"/>
                <a:gd name="T31" fmla="*/ 17 h 23"/>
                <a:gd name="T32" fmla="*/ 6 w 44"/>
                <a:gd name="T33" fmla="*/ 5 h 23"/>
                <a:gd name="T34" fmla="*/ 6 w 44"/>
                <a:gd name="T35" fmla="*/ 5 h 23"/>
                <a:gd name="T36" fmla="*/ 38 w 44"/>
                <a:gd name="T37" fmla="*/ 5 h 23"/>
                <a:gd name="T38" fmla="*/ 38 w 44"/>
                <a:gd name="T39" fmla="*/ 6 h 23"/>
                <a:gd name="T40" fmla="*/ 38 w 44"/>
                <a:gd name="T41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23"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3" y="23"/>
                    <a:pt x="6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8"/>
                    <a:pt x="3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7"/>
                    <a:pt x="6" y="17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7468867D-228E-4BD7-8C59-E901832611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48100" y="2519363"/>
              <a:ext cx="184150" cy="109538"/>
            </a:xfrm>
            <a:custGeom>
              <a:avLst/>
              <a:gdLst>
                <a:gd name="T0" fmla="*/ 38 w 43"/>
                <a:gd name="T1" fmla="*/ 0 h 23"/>
                <a:gd name="T2" fmla="*/ 38 w 43"/>
                <a:gd name="T3" fmla="*/ 0 h 23"/>
                <a:gd name="T4" fmla="*/ 0 w 43"/>
                <a:gd name="T5" fmla="*/ 0 h 23"/>
                <a:gd name="T6" fmla="*/ 0 w 43"/>
                <a:gd name="T7" fmla="*/ 23 h 23"/>
                <a:gd name="T8" fmla="*/ 5 w 43"/>
                <a:gd name="T9" fmla="*/ 23 h 23"/>
                <a:gd name="T10" fmla="*/ 5 w 43"/>
                <a:gd name="T11" fmla="*/ 17 h 23"/>
                <a:gd name="T12" fmla="*/ 38 w 43"/>
                <a:gd name="T13" fmla="*/ 17 h 23"/>
                <a:gd name="T14" fmla="*/ 43 w 43"/>
                <a:gd name="T15" fmla="*/ 12 h 23"/>
                <a:gd name="T16" fmla="*/ 43 w 43"/>
                <a:gd name="T17" fmla="*/ 5 h 23"/>
                <a:gd name="T18" fmla="*/ 38 w 43"/>
                <a:gd name="T19" fmla="*/ 0 h 23"/>
                <a:gd name="T20" fmla="*/ 38 w 43"/>
                <a:gd name="T21" fmla="*/ 11 h 23"/>
                <a:gd name="T22" fmla="*/ 38 w 43"/>
                <a:gd name="T23" fmla="*/ 12 h 23"/>
                <a:gd name="T24" fmla="*/ 5 w 43"/>
                <a:gd name="T25" fmla="*/ 12 h 23"/>
                <a:gd name="T26" fmla="*/ 5 w 43"/>
                <a:gd name="T27" fmla="*/ 5 h 23"/>
                <a:gd name="T28" fmla="*/ 37 w 43"/>
                <a:gd name="T29" fmla="*/ 5 h 23"/>
                <a:gd name="T30" fmla="*/ 38 w 43"/>
                <a:gd name="T31" fmla="*/ 6 h 23"/>
                <a:gd name="T32" fmla="*/ 38 w 43"/>
                <a:gd name="T3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23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41" y="17"/>
                    <a:pt x="43" y="14"/>
                    <a:pt x="43" y="12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2"/>
                    <a:pt x="41" y="0"/>
                    <a:pt x="38" y="0"/>
                  </a:cubicBezTo>
                  <a:close/>
                  <a:moveTo>
                    <a:pt x="38" y="11"/>
                  </a:moveTo>
                  <a:cubicBezTo>
                    <a:pt x="38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16" name="textBoxChangeDate">
            <a:extLst>
              <a:ext uri="{FF2B5EF4-FFF2-40B4-BE49-F238E27FC236}">
                <a16:creationId xmlns:a16="http://schemas.microsoft.com/office/drawing/2014/main" id="{7AA358CF-47E2-4350-8A87-10C0F90A3942}"/>
              </a:ext>
            </a:extLst>
          </p:cNvPr>
          <p:cNvSpPr txBox="1">
            <a:spLocks/>
          </p:cNvSpPr>
          <p:nvPr userDrawn="1"/>
        </p:nvSpPr>
        <p:spPr>
          <a:xfrm>
            <a:off x="1238801" y="6125228"/>
            <a:ext cx="1679947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Änderungsdatum: 18.07.2018</a:t>
            </a:r>
          </a:p>
        </p:txBody>
      </p:sp>
      <p:sp>
        <p:nvSpPr>
          <p:cNvPr id="17" name="textBoxCreationDate">
            <a:extLst>
              <a:ext uri="{FF2B5EF4-FFF2-40B4-BE49-F238E27FC236}">
                <a16:creationId xmlns:a16="http://schemas.microsoft.com/office/drawing/2014/main" id="{61A5BF2B-5F4A-4028-B56C-44054A65547F}"/>
              </a:ext>
            </a:extLst>
          </p:cNvPr>
          <p:cNvSpPr txBox="1">
            <a:spLocks/>
          </p:cNvSpPr>
          <p:nvPr userDrawn="1"/>
        </p:nvSpPr>
        <p:spPr>
          <a:xfrm>
            <a:off x="1238801" y="6306106"/>
            <a:ext cx="1699183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Erstellungsdatum: 14.08.2018</a:t>
            </a:r>
          </a:p>
        </p:txBody>
      </p:sp>
      <p:sp>
        <p:nvSpPr>
          <p:cNvPr id="18" name="textBoxUserName">
            <a:extLst>
              <a:ext uri="{FF2B5EF4-FFF2-40B4-BE49-F238E27FC236}">
                <a16:creationId xmlns:a16="http://schemas.microsoft.com/office/drawing/2014/main" id="{3F063445-F6C1-42E3-A8F8-50AC90D511B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13127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  <p:sp>
        <p:nvSpPr>
          <p:cNvPr id="19" name="textBoxDepartment">
            <a:extLst>
              <a:ext uri="{FF2B5EF4-FFF2-40B4-BE49-F238E27FC236}">
                <a16:creationId xmlns:a16="http://schemas.microsoft.com/office/drawing/2014/main" id="{2214E889-2DC2-4239-9C1F-EB7352E83669}"/>
              </a:ext>
            </a:extLst>
          </p:cNvPr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04545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</p:spTree>
    <p:extLst>
      <p:ext uri="{BB962C8B-B14F-4D97-AF65-F5344CB8AC3E}">
        <p14:creationId xmlns:p14="http://schemas.microsoft.com/office/powerpoint/2010/main" val="190779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03" y="1904"/>
          <a:ext cx="1904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3" y="1904"/>
                        <a:ext cx="1904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1225" y="6194167"/>
            <a:ext cx="11765745" cy="129123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39"/>
            </a:lvl1pPr>
            <a:lvl2pPr marL="0" indent="0">
              <a:lnSpc>
                <a:spcPts val="959"/>
              </a:lnSpc>
              <a:buFontTx/>
              <a:buNone/>
              <a:defRPr sz="839"/>
            </a:lvl2pPr>
            <a:lvl3pPr marL="0" indent="0">
              <a:lnSpc>
                <a:spcPts val="959"/>
              </a:lnSpc>
              <a:buFontTx/>
              <a:buNone/>
              <a:defRPr sz="839"/>
            </a:lvl3pPr>
            <a:lvl4pPr marL="0" indent="0">
              <a:lnSpc>
                <a:spcPts val="959"/>
              </a:lnSpc>
              <a:buFontTx/>
              <a:buNone/>
              <a:defRPr sz="839"/>
            </a:lvl4pPr>
            <a:lvl5pPr marL="0" indent="0">
              <a:lnSpc>
                <a:spcPts val="959"/>
              </a:lnSpc>
              <a:buFontTx/>
              <a:buNone/>
              <a:defRPr sz="839"/>
            </a:lvl5pPr>
            <a:lvl6pPr marL="0" indent="0">
              <a:lnSpc>
                <a:spcPts val="959"/>
              </a:lnSpc>
              <a:buFontTx/>
              <a:buNone/>
              <a:defRPr sz="839"/>
            </a:lvl6pPr>
            <a:lvl7pPr marL="0" indent="0">
              <a:lnSpc>
                <a:spcPts val="959"/>
              </a:lnSpc>
              <a:buFontTx/>
              <a:buNone/>
              <a:defRPr sz="839"/>
            </a:lvl7pPr>
            <a:lvl8pPr marL="0" indent="0">
              <a:lnSpc>
                <a:spcPts val="959"/>
              </a:lnSpc>
              <a:buFontTx/>
              <a:buNone/>
              <a:defRPr sz="839"/>
            </a:lvl8pPr>
            <a:lvl9pPr marL="0" indent="0">
              <a:lnSpc>
                <a:spcPts val="959"/>
              </a:lnSpc>
              <a:buFontTx/>
              <a:buNone/>
              <a:defRPr sz="839"/>
            </a:lvl9pPr>
          </a:lstStyle>
          <a:p>
            <a:pPr lvl="0"/>
            <a:r>
              <a:rPr lang="de-DE"/>
              <a:t>Quelle &amp; Fußnoten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1C80D1B7-208D-8145-BB40-D0AB602B11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1225" y="1615550"/>
            <a:ext cx="11765745" cy="452316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5709" indent="-5709">
              <a:spcBef>
                <a:spcPts val="0"/>
              </a:spcBef>
              <a:buClr>
                <a:schemeClr val="bg1"/>
              </a:buClr>
              <a:buSzPct val="25000"/>
              <a:buFont typeface="Systemschrift"/>
              <a:buChar char="­"/>
              <a:tabLst/>
              <a:defRPr sz="2158">
                <a:solidFill>
                  <a:schemeClr val="tx1"/>
                </a:solidFill>
              </a:defRPr>
            </a:lvl1pPr>
            <a:lvl2pPr marL="319693" indent="-213129">
              <a:spcBef>
                <a:spcPts val="0"/>
              </a:spcBef>
              <a:tabLst/>
              <a:defRPr sz="2158">
                <a:solidFill>
                  <a:schemeClr val="tx1"/>
                </a:solidFill>
              </a:defRPr>
            </a:lvl2pPr>
            <a:lvl3pPr marL="534726" indent="-196003">
              <a:spcBef>
                <a:spcPts val="0"/>
              </a:spcBef>
              <a:buSzPct val="120000"/>
              <a:buFont typeface="Arial" panose="020B0604020202020204" pitchFamily="34" charset="0"/>
              <a:buChar char="•"/>
              <a:tabLst/>
              <a:defRPr lang="de-DE" sz="2158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7855" indent="-196003">
              <a:spcBef>
                <a:spcPts val="0"/>
              </a:spcBef>
              <a:tabLst/>
              <a:defRPr lang="de-DE" sz="2158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2886" indent="-190294">
              <a:spcBef>
                <a:spcPts val="0"/>
              </a:spcBef>
              <a:tabLst/>
              <a:defRPr lang="de-DE" sz="2158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5881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1/2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03" y="1904"/>
          <a:ext cx="1904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3" y="1904"/>
                        <a:ext cx="1904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3B50739-959F-4BE2-B9E4-FF75EA6ED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Bildplatzhalter 21">
            <a:extLst>
              <a:ext uri="{FF2B5EF4-FFF2-40B4-BE49-F238E27FC236}">
                <a16:creationId xmlns:a16="http://schemas.microsoft.com/office/drawing/2014/main" id="{A1523B40-F722-4458-A72D-06A80FCF7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12652"/>
            <a:ext cx="7148355" cy="4529961"/>
          </a:xfrm>
          <a:custGeom>
            <a:avLst/>
            <a:gdLst>
              <a:gd name="connsiteX0" fmla="*/ 0 w 5063169"/>
              <a:gd name="connsiteY0" fmla="*/ 0 h 3624262"/>
              <a:gd name="connsiteX1" fmla="*/ 5063169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0 h 3624262"/>
              <a:gd name="connsiteX1" fmla="*/ 3336551 w 5063169"/>
              <a:gd name="connsiteY1" fmla="*/ 0 h 3624262"/>
              <a:gd name="connsiteX2" fmla="*/ 5063169 w 5063169"/>
              <a:gd name="connsiteY2" fmla="*/ 3624262 h 3624262"/>
              <a:gd name="connsiteX3" fmla="*/ 0 w 5063169"/>
              <a:gd name="connsiteY3" fmla="*/ 3624262 h 3624262"/>
              <a:gd name="connsiteX4" fmla="*/ 0 w 5063169"/>
              <a:gd name="connsiteY4" fmla="*/ 0 h 3624262"/>
              <a:gd name="connsiteX0" fmla="*/ 0 w 5063169"/>
              <a:gd name="connsiteY0" fmla="*/ 2620 h 3626882"/>
              <a:gd name="connsiteX1" fmla="*/ 333393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620 h 3626882"/>
              <a:gd name="connsiteX1" fmla="*/ 3328691 w 5063169"/>
              <a:gd name="connsiteY1" fmla="*/ 0 h 3626882"/>
              <a:gd name="connsiteX2" fmla="*/ 5063169 w 5063169"/>
              <a:gd name="connsiteY2" fmla="*/ 3626882 h 3626882"/>
              <a:gd name="connsiteX3" fmla="*/ 0 w 5063169"/>
              <a:gd name="connsiteY3" fmla="*/ 3626882 h 3626882"/>
              <a:gd name="connsiteX4" fmla="*/ 0 w 5063169"/>
              <a:gd name="connsiteY4" fmla="*/ 2620 h 3626882"/>
              <a:gd name="connsiteX0" fmla="*/ 0 w 5063169"/>
              <a:gd name="connsiteY0" fmla="*/ 238 h 3624500"/>
              <a:gd name="connsiteX1" fmla="*/ 3331072 w 5063169"/>
              <a:gd name="connsiteY1" fmla="*/ 0 h 3624500"/>
              <a:gd name="connsiteX2" fmla="*/ 5063169 w 5063169"/>
              <a:gd name="connsiteY2" fmla="*/ 3624500 h 3624500"/>
              <a:gd name="connsiteX3" fmla="*/ 0 w 5063169"/>
              <a:gd name="connsiteY3" fmla="*/ 3624500 h 3624500"/>
              <a:gd name="connsiteX4" fmla="*/ 0 w 5063169"/>
              <a:gd name="connsiteY4" fmla="*/ 238 h 3624500"/>
              <a:gd name="connsiteX0" fmla="*/ 0 w 5063169"/>
              <a:gd name="connsiteY0" fmla="*/ 2559 h 3626821"/>
              <a:gd name="connsiteX1" fmla="*/ 3528242 w 5063169"/>
              <a:gd name="connsiteY1" fmla="*/ 0 h 3626821"/>
              <a:gd name="connsiteX2" fmla="*/ 5063169 w 5063169"/>
              <a:gd name="connsiteY2" fmla="*/ 3626821 h 3626821"/>
              <a:gd name="connsiteX3" fmla="*/ 0 w 5063169"/>
              <a:gd name="connsiteY3" fmla="*/ 3626821 h 3626821"/>
              <a:gd name="connsiteX4" fmla="*/ 0 w 5063169"/>
              <a:gd name="connsiteY4" fmla="*/ 2559 h 3626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63169" h="3626821">
                <a:moveTo>
                  <a:pt x="0" y="2559"/>
                </a:moveTo>
                <a:lnTo>
                  <a:pt x="3528242" y="0"/>
                </a:lnTo>
                <a:lnTo>
                  <a:pt x="5063169" y="3626821"/>
                </a:lnTo>
                <a:lnTo>
                  <a:pt x="0" y="3626821"/>
                </a:lnTo>
                <a:lnTo>
                  <a:pt x="0" y="2559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21">
            <a:extLst>
              <a:ext uri="{FF2B5EF4-FFF2-40B4-BE49-F238E27FC236}">
                <a16:creationId xmlns:a16="http://schemas.microsoft.com/office/drawing/2014/main" id="{CD5193FC-E9CA-4155-AD20-B517784930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43643" y="1612652"/>
            <a:ext cx="7148356" cy="4529961"/>
          </a:xfrm>
          <a:custGeom>
            <a:avLst/>
            <a:gdLst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0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8681"/>
              <a:gd name="connsiteX1" fmla="*/ 5595667 w 5595667"/>
              <a:gd name="connsiteY1" fmla="*/ 0 h 4388681"/>
              <a:gd name="connsiteX2" fmla="*/ 5595667 w 5595667"/>
              <a:gd name="connsiteY2" fmla="*/ 4386262 h 4388681"/>
              <a:gd name="connsiteX3" fmla="*/ 2102152 w 5595667"/>
              <a:gd name="connsiteY3" fmla="*/ 4388681 h 4388681"/>
              <a:gd name="connsiteX4" fmla="*/ 0 w 5595667"/>
              <a:gd name="connsiteY4" fmla="*/ 0 h 4388681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3843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2102152 w 5595667"/>
              <a:gd name="connsiteY3" fmla="*/ 4386262 h 4386262"/>
              <a:gd name="connsiteX4" fmla="*/ 0 w 5595667"/>
              <a:gd name="connsiteY4" fmla="*/ 0 h 4386262"/>
              <a:gd name="connsiteX0" fmla="*/ 0 w 5595667"/>
              <a:gd name="connsiteY0" fmla="*/ 0 h 4386262"/>
              <a:gd name="connsiteX1" fmla="*/ 5595667 w 5595667"/>
              <a:gd name="connsiteY1" fmla="*/ 0 h 4386262"/>
              <a:gd name="connsiteX2" fmla="*/ 5595667 w 5595667"/>
              <a:gd name="connsiteY2" fmla="*/ 4386262 h 4386262"/>
              <a:gd name="connsiteX3" fmla="*/ 1694601 w 5595667"/>
              <a:gd name="connsiteY3" fmla="*/ 4386262 h 4386262"/>
              <a:gd name="connsiteX4" fmla="*/ 0 w 5595667"/>
              <a:gd name="connsiteY4" fmla="*/ 0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5667" h="4386262">
                <a:moveTo>
                  <a:pt x="0" y="0"/>
                </a:moveTo>
                <a:lnTo>
                  <a:pt x="5595667" y="0"/>
                </a:lnTo>
                <a:lnTo>
                  <a:pt x="5595667" y="4386262"/>
                </a:lnTo>
                <a:lnTo>
                  <a:pt x="1694601" y="438626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13672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03" y="1904"/>
          <a:ext cx="1904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3" y="1904"/>
                        <a:ext cx="1904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11225" y="6194167"/>
            <a:ext cx="11765745" cy="129123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sz="839"/>
            </a:lvl1pPr>
            <a:lvl2pPr marL="0" indent="0">
              <a:lnSpc>
                <a:spcPts val="959"/>
              </a:lnSpc>
              <a:buFontTx/>
              <a:buNone/>
              <a:defRPr sz="839"/>
            </a:lvl2pPr>
            <a:lvl3pPr marL="0" indent="0">
              <a:lnSpc>
                <a:spcPts val="959"/>
              </a:lnSpc>
              <a:buFontTx/>
              <a:buNone/>
              <a:defRPr sz="839"/>
            </a:lvl3pPr>
            <a:lvl4pPr marL="0" indent="0">
              <a:lnSpc>
                <a:spcPts val="959"/>
              </a:lnSpc>
              <a:buFontTx/>
              <a:buNone/>
              <a:defRPr sz="839"/>
            </a:lvl4pPr>
            <a:lvl5pPr marL="0" indent="0">
              <a:lnSpc>
                <a:spcPts val="959"/>
              </a:lnSpc>
              <a:buFontTx/>
              <a:buNone/>
              <a:defRPr sz="839"/>
            </a:lvl5pPr>
            <a:lvl6pPr marL="0" indent="0">
              <a:lnSpc>
                <a:spcPts val="959"/>
              </a:lnSpc>
              <a:buFontTx/>
              <a:buNone/>
              <a:defRPr sz="839"/>
            </a:lvl6pPr>
            <a:lvl7pPr marL="0" indent="0">
              <a:lnSpc>
                <a:spcPts val="959"/>
              </a:lnSpc>
              <a:buFontTx/>
              <a:buNone/>
              <a:defRPr sz="839"/>
            </a:lvl7pPr>
            <a:lvl8pPr marL="0" indent="0">
              <a:lnSpc>
                <a:spcPts val="959"/>
              </a:lnSpc>
              <a:buFontTx/>
              <a:buNone/>
              <a:defRPr sz="839"/>
            </a:lvl8pPr>
            <a:lvl9pPr marL="0" indent="0">
              <a:lnSpc>
                <a:spcPts val="959"/>
              </a:lnSpc>
              <a:buFontTx/>
              <a:buNone/>
              <a:defRPr sz="839"/>
            </a:lvl9pPr>
          </a:lstStyle>
          <a:p>
            <a:pPr lvl="0"/>
            <a:r>
              <a:rPr lang="de-DE"/>
              <a:t>Quelle &amp; Fußnoten</a:t>
            </a:r>
          </a:p>
        </p:txBody>
      </p:sp>
    </p:spTree>
    <p:extLst>
      <p:ext uri="{BB962C8B-B14F-4D97-AF65-F5344CB8AC3E}">
        <p14:creationId xmlns:p14="http://schemas.microsoft.com/office/powerpoint/2010/main" val="215743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12261-8522-4437-B612-7C7100D18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457200"/>
            <a:ext cx="10543032" cy="1600200"/>
          </a:xfrm>
        </p:spPr>
        <p:txBody>
          <a:bodyPr anchor="b">
            <a:noAutofit/>
          </a:bodyPr>
          <a:lstStyle>
            <a:lvl1pPr>
              <a:defRPr sz="5200">
                <a:latin typeface="Dante (Headings)2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BAA0AF-3F50-42BD-84B4-E70C3D004F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2199340"/>
            <a:ext cx="5780468" cy="3661710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9C702B-2C4D-4590-8BEE-31940145C7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20624" y="2199340"/>
            <a:ext cx="4489180" cy="3669647"/>
          </a:xfrm>
        </p:spPr>
        <p:txBody>
          <a:bodyPr>
            <a:norm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94813E-250B-4422-AE46-5E1AB964A4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624" y="6217920"/>
            <a:ext cx="2743200" cy="640080"/>
          </a:xfrm>
        </p:spPr>
        <p:txBody>
          <a:bodyPr/>
          <a:lstStyle/>
          <a:p>
            <a:fld id="{EAEA162C-A7C1-4263-9453-1BAFF8C39559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CB5B81-E9CC-45F3-8EF1-35D2C8FF1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DA7E97-5A73-4602-9582-6CDACB9185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96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5334B-3019-4CA1-B658-779001922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457200"/>
            <a:ext cx="4489180" cy="1600200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FD3CC12-FD6B-41A3-BF67-D600CC4383A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DB2BD5-DC18-460B-BFCC-5B2447D2B0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20624" y="2199340"/>
            <a:ext cx="4489180" cy="3669647"/>
          </a:xfrm>
        </p:spPr>
        <p:txBody>
          <a:bodyPr>
            <a:norm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AF6305-9768-4792-866C-91238D4569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0624" y="6217920"/>
            <a:ext cx="2743200" cy="640080"/>
          </a:xfrm>
        </p:spPr>
        <p:txBody>
          <a:bodyPr/>
          <a:lstStyle/>
          <a:p>
            <a:fld id="{64DF6793-3458-4587-8168-65F0C37A92D2}" type="datetime2">
              <a:rPr lang="en-US" smtClean="0"/>
              <a:t>Wednesday, May 5, 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DBF050-0FF1-499F-936E-FAAE50DC3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902C2E-1542-46B4-85B1-7A4B3F772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4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image" Target="../media/image2.emf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tags" Target="../tags/tag3.xml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oleObject" Target="../embeddings/oleObject6.bin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tags" Target="../tags/tag1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tags" Target="../tags/tag11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tags" Target="../tags/tag10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586836B-C327-49CB-ADF2-2E730C4A91BF}"/>
              </a:ext>
            </a:extLst>
          </p:cNvPr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bg2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8310F61-136C-42B3-981B-FDE3DD0A8135}"/>
              </a:ext>
            </a:extLst>
          </p:cNvPr>
          <p:cNvSpPr/>
          <p:nvPr/>
        </p:nvSpPr>
        <p:spPr>
          <a:xfrm>
            <a:off x="1478322" y="709375"/>
            <a:ext cx="10713675" cy="541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92AF870-601F-4570-A8A9-1003F8939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365125"/>
            <a:ext cx="1054303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CCCECD-B6E7-4C40-8A84-65FD5A3F0A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0624" y="1825625"/>
            <a:ext cx="1054303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3EFA4D-0E39-4E26-B43C-5D1084B3BA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0624" y="6217920"/>
            <a:ext cx="2743200" cy="6400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E8352ED3-3C46-4C9A-9738-67B2D875E7E2}" type="datetime2">
              <a:rPr lang="en-US" smtClean="0"/>
              <a:pPr/>
              <a:t>Wednesday, May 5, 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8851EA-2F2C-4012-8B96-51179BDD11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67328" y="6217920"/>
            <a:ext cx="7196328" cy="6400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BB8ACB-7A60-4D76-A149-0C57A30E01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152" y="0"/>
            <a:ext cx="685800" cy="685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3A4F6043-7A67-491B-98BC-F933DED7226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346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  <p:sldLayoutId id="2147483745" r:id="rId12"/>
  </p:sldLayoutIdLst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Wingdings 2" panose="05020102010507070707" pitchFamily="18" charset="2"/>
        <a:buChar char="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Wingdings 2" panose="05020102010507070707" pitchFamily="18" charset="2"/>
        <a:buChar char="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Wingdings 2" panose="05020102010507070707" pitchFamily="18" charset="2"/>
        <a:buChar char="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Wingdings 2" panose="05020102010507070707" pitchFamily="18" charset="2"/>
        <a:buChar char="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Wingdings 2" panose="05020102010507070707" pitchFamily="18" charset="2"/>
        <a:buChar char="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winkliges Dreieck 1">
            <a:extLst>
              <a:ext uri="{FF2B5EF4-FFF2-40B4-BE49-F238E27FC236}">
                <a16:creationId xmlns:a16="http://schemas.microsoft.com/office/drawing/2014/main" id="{77827609-B996-4C67-A894-DBD475544679}"/>
              </a:ext>
            </a:extLst>
          </p:cNvPr>
          <p:cNvSpPr/>
          <p:nvPr userDrawn="1"/>
        </p:nvSpPr>
        <p:spPr>
          <a:xfrm>
            <a:off x="2" y="0"/>
            <a:ext cx="5511800" cy="6858000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 eaLnBrk="1"/>
            <a:endParaRPr lang="de-DE" sz="2400">
              <a:latin typeface="+mj-lt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904" y="1904"/>
          <a:ext cx="1902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270" imgH="270" progId="TCLayout.ActiveDocument.1">
                  <p:embed/>
                </p:oleObj>
              </mc:Choice>
              <mc:Fallback>
                <p:oleObj name="think-cell Folie" r:id="rId38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904" y="1904"/>
                        <a:ext cx="1902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KPL08" hidden="1"/>
          <p:cNvSpPr/>
          <p:nvPr userDrawn="1"/>
        </p:nvSpPr>
        <p:spPr>
          <a:xfrm>
            <a:off x="9469280" y="6483379"/>
            <a:ext cx="935231" cy="366182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de-DE" sz="1678" b="0">
                <a:solidFill>
                  <a:srgbClr val="658E11"/>
                </a:solidFill>
              </a:rPr>
              <a:t>Keine Kenntlichmachung</a:t>
            </a:r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76410061-FB63-394F-8BEB-39D45BA00EA9}"/>
              </a:ext>
            </a:extLst>
          </p:cNvPr>
          <p:cNvSpPr/>
          <p:nvPr userDrawn="1"/>
        </p:nvSpPr>
        <p:spPr>
          <a:xfrm>
            <a:off x="-1717" y="6022400"/>
            <a:ext cx="859887" cy="500919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>
              <a:latin typeface="+mj-lt"/>
            </a:endParaRPr>
          </a:p>
        </p:txBody>
      </p:sp>
      <p:sp>
        <p:nvSpPr>
          <p:cNvPr id="22" name="textBoxPageXFromY">
            <a:extLst>
              <a:ext uri="{FF2B5EF4-FFF2-40B4-BE49-F238E27FC236}">
                <a16:creationId xmlns:a16="http://schemas.microsoft.com/office/drawing/2014/main" id="{6C2ED314-14D2-FA4B-80DF-F41F7F264F70}"/>
              </a:ext>
            </a:extLst>
          </p:cNvPr>
          <p:cNvSpPr txBox="1">
            <a:spLocks/>
          </p:cNvSpPr>
          <p:nvPr userDrawn="1"/>
        </p:nvSpPr>
        <p:spPr>
          <a:xfrm>
            <a:off x="-1715" y="6104003"/>
            <a:ext cx="712117" cy="36618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52C284-3A18-46CD-903D-DE3079F66B98}" type="slidenum">
              <a:rPr lang="de-DE" sz="1079" smtClean="0"/>
              <a:t>‹Nr.›</a:t>
            </a:fld>
            <a:r>
              <a:rPr lang="de-DE" sz="1079"/>
              <a:t>/10</a:t>
            </a:r>
          </a:p>
        </p:txBody>
      </p:sp>
      <p:sp>
        <p:nvSpPr>
          <p:cNvPr id="35" name="textBoxChangeDate">
            <a:extLst>
              <a:ext uri="{FF2B5EF4-FFF2-40B4-BE49-F238E27FC236}">
                <a16:creationId xmlns:a16="http://schemas.microsoft.com/office/drawing/2014/main" id="{E66FA289-8747-411D-B981-EE77120C2E7A}"/>
              </a:ext>
            </a:extLst>
          </p:cNvPr>
          <p:cNvSpPr txBox="1">
            <a:spLocks/>
          </p:cNvSpPr>
          <p:nvPr userDrawn="1"/>
        </p:nvSpPr>
        <p:spPr>
          <a:xfrm>
            <a:off x="1238801" y="6189823"/>
            <a:ext cx="1083630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Datum: </a:t>
            </a:r>
            <a:fld id="{ECD35CEF-4E61-48D0-A946-64E9556BCBBC}" type="datetime1">
              <a:rPr lang="de-DE" sz="1079" b="0" smtClean="0"/>
              <a:t>05.05.2021</a:t>
            </a:fld>
            <a:endParaRPr lang="de-DE" sz="1079" b="0"/>
          </a:p>
        </p:txBody>
      </p:sp>
      <p:sp>
        <p:nvSpPr>
          <p:cNvPr id="20" name="textBoxUserName">
            <a:extLst>
              <a:ext uri="{FF2B5EF4-FFF2-40B4-BE49-F238E27FC236}">
                <a16:creationId xmlns:a16="http://schemas.microsoft.com/office/drawing/2014/main" id="{4256B69B-FB45-44AE-9888-1CD421195833}"/>
              </a:ext>
            </a:extLst>
          </p:cNvPr>
          <p:cNvSpPr txBox="1">
            <a:spLocks noChangeArrowheads="1"/>
          </p:cNvSpPr>
          <p:nvPr userDrawn="1">
            <p:custDataLst>
              <p:tags r:id="rId36"/>
            </p:custDataLst>
          </p:nvPr>
        </p:nvSpPr>
        <p:spPr bwMode="auto">
          <a:xfrm>
            <a:off x="213127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  <p:sp>
        <p:nvSpPr>
          <p:cNvPr id="21" name="textBoxDepartment">
            <a:extLst>
              <a:ext uri="{FF2B5EF4-FFF2-40B4-BE49-F238E27FC236}">
                <a16:creationId xmlns:a16="http://schemas.microsoft.com/office/drawing/2014/main" id="{94C697CA-6027-452F-B1DA-30301A41340C}"/>
              </a:ext>
            </a:extLst>
          </p:cNvPr>
          <p:cNvSpPr txBox="1">
            <a:spLocks noChangeArrowheads="1"/>
          </p:cNvSpPr>
          <p:nvPr userDrawn="1">
            <p:custDataLst>
              <p:tags r:id="rId37"/>
            </p:custDataLst>
          </p:nvPr>
        </p:nvSpPr>
        <p:spPr bwMode="auto">
          <a:xfrm>
            <a:off x="304545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  <p:pic>
        <p:nvPicPr>
          <p:cNvPr id="1028" name="Picture 4" descr="Hochschulkommunikation - Hochschule Stralsund">
            <a:extLst>
              <a:ext uri="{FF2B5EF4-FFF2-40B4-BE49-F238E27FC236}">
                <a16:creationId xmlns:a16="http://schemas.microsoft.com/office/drawing/2014/main" id="{826230F5-6CED-4676-A24D-0399171170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9634" y="5914486"/>
            <a:ext cx="2502364" cy="943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3659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4" r:id="rId30"/>
    <p:sldLayoutId id="2147483705" r:id="rId31"/>
    <p:sldLayoutId id="2147483706" r:id="rId32"/>
    <p:sldLayoutId id="2147483707" r:id="rId33"/>
  </p:sldLayoutIdLst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txStyles>
    <p:titleStyle>
      <a:lvl1pPr algn="l" defTabSz="1096091" rtl="0" eaLnBrk="1" latinLnBrk="0" hangingPunct="1">
        <a:lnSpc>
          <a:spcPct val="100000"/>
        </a:lnSpc>
        <a:spcBef>
          <a:spcPct val="0"/>
        </a:spcBef>
        <a:buNone/>
        <a:defRPr sz="287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>
          <a:prstClr val="black"/>
        </a:buClr>
        <a:buSzPct val="90000"/>
        <a:buFontTx/>
        <a:buNone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1pPr>
      <a:lvl2pPr marL="215032" marR="0" indent="-215032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2pPr>
      <a:lvl3pPr marL="430064" marR="0" indent="-215032" algn="l" defTabSz="430064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Porsche News Gothic" panose="02000400000000000000" pitchFamily="2" charset="0"/>
        <a:buChar char="•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3pPr>
      <a:lvl4pPr marL="645096" marR="0" indent="-215032" algn="l" defTabSz="645096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Symbol" panose="05050102010706020507" pitchFamily="18" charset="2"/>
        <a:buChar char="-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4pPr>
      <a:lvl5pPr marL="863064" marR="0" indent="-215032" algn="l" defTabSz="860127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5pPr>
      <a:lvl6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Tx/>
        <a:buNone/>
        <a:defRPr sz="2158" kern="1200">
          <a:solidFill>
            <a:schemeClr val="tx1"/>
          </a:solidFill>
          <a:latin typeface="+mn-lt"/>
          <a:ea typeface="+mn-ea"/>
          <a:cs typeface="+mn-cs"/>
        </a:defRPr>
      </a:lvl1pPr>
      <a:lvl2pPr marL="215766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2pPr>
      <a:lvl3pPr marL="647298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3pPr>
      <a:lvl4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4pPr>
      <a:lvl5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5pPr>
      <a:lvl6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2">
          <p15:clr>
            <a:srgbClr val="F26B43"/>
          </p15:clr>
        </p15:guide>
        <p15:guide id="2" pos="479">
          <p15:clr>
            <a:srgbClr val="F26B43"/>
          </p15:clr>
        </p15:guide>
        <p15:guide id="3" orient="horz" pos="529">
          <p15:clr>
            <a:srgbClr val="F26B43"/>
          </p15:clr>
        </p15:guide>
        <p15:guide id="4" orient="horz" pos="704">
          <p15:clr>
            <a:srgbClr val="A4A3A4"/>
          </p15:clr>
        </p15:guide>
        <p15:guide id="5" orient="horz" pos="3073">
          <p15:clr>
            <a:srgbClr val="F26B43"/>
          </p15:clr>
        </p15:guide>
        <p15:guide id="6" orient="horz" pos="2896">
          <p15:clr>
            <a:srgbClr val="A4A3A4"/>
          </p15:clr>
        </p15:guide>
        <p15:guide id="7" pos="651">
          <p15:clr>
            <a:srgbClr val="A4A3A4"/>
          </p15:clr>
        </p15:guide>
        <p15:guide id="8" pos="1438">
          <p15:clr>
            <a:srgbClr val="A4A3A4"/>
          </p15:clr>
        </p15:guide>
        <p15:guide id="9" pos="1613">
          <p15:clr>
            <a:srgbClr val="A4A3A4"/>
          </p15:clr>
        </p15:guide>
        <p15:guide id="10" pos="2397">
          <p15:clr>
            <a:srgbClr val="A4A3A4"/>
          </p15:clr>
        </p15:guide>
        <p15:guide id="11" pos="2572">
          <p15:clr>
            <a:srgbClr val="A4A3A4"/>
          </p15:clr>
        </p15:guide>
        <p15:guide id="12" pos="3356">
          <p15:clr>
            <a:srgbClr val="A4A3A4"/>
          </p15:clr>
        </p15:guide>
        <p15:guide id="13" pos="3531">
          <p15:clr>
            <a:srgbClr val="A4A3A4"/>
          </p15:clr>
        </p15:guide>
        <p15:guide id="14" pos="4315">
          <p15:clr>
            <a:srgbClr val="A4A3A4"/>
          </p15:clr>
        </p15:guide>
        <p15:guide id="15" pos="4493">
          <p15:clr>
            <a:srgbClr val="A4A3A4"/>
          </p15:clr>
        </p15:guide>
        <p15:guide id="16" pos="5277">
          <p15:clr>
            <a:srgbClr val="A4A3A4"/>
          </p15:clr>
        </p15:guide>
        <p15:guide id="17" pos="5452">
          <p15:clr>
            <a:srgbClr val="A4A3A4"/>
          </p15:clr>
        </p15:guide>
        <p15:guide id="18" pos="6236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winkliges Dreieck 1">
            <a:extLst>
              <a:ext uri="{FF2B5EF4-FFF2-40B4-BE49-F238E27FC236}">
                <a16:creationId xmlns:a16="http://schemas.microsoft.com/office/drawing/2014/main" id="{77827609-B996-4C67-A894-DBD475544679}"/>
              </a:ext>
            </a:extLst>
          </p:cNvPr>
          <p:cNvSpPr/>
          <p:nvPr userDrawn="1"/>
        </p:nvSpPr>
        <p:spPr>
          <a:xfrm>
            <a:off x="2" y="0"/>
            <a:ext cx="5511800" cy="6858000"/>
          </a:xfrm>
          <a:custGeom>
            <a:avLst/>
            <a:gdLst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2717800 w 2717800"/>
              <a:gd name="connsiteY2" fmla="*/ 4386262 h 4386262"/>
              <a:gd name="connsiteX3" fmla="*/ 0 w 2717800"/>
              <a:gd name="connsiteY3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416966 w 2717800"/>
              <a:gd name="connsiteY2" fmla="*/ 676541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2717800"/>
              <a:gd name="connsiteY0" fmla="*/ 4386262 h 4386262"/>
              <a:gd name="connsiteX1" fmla="*/ 0 w 2717800"/>
              <a:gd name="connsiteY1" fmla="*/ 0 h 4386262"/>
              <a:gd name="connsiteX2" fmla="*/ 687629 w 2717800"/>
              <a:gd name="connsiteY2" fmla="*/ 3543 h 4386262"/>
              <a:gd name="connsiteX3" fmla="*/ 2717800 w 2717800"/>
              <a:gd name="connsiteY3" fmla="*/ 4386262 h 4386262"/>
              <a:gd name="connsiteX4" fmla="*/ 0 w 2717800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687629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  <a:gd name="connsiteX0" fmla="*/ 0 w 3873602"/>
              <a:gd name="connsiteY0" fmla="*/ 4386262 h 4386262"/>
              <a:gd name="connsiteX1" fmla="*/ 0 w 3873602"/>
              <a:gd name="connsiteY1" fmla="*/ 0 h 4386262"/>
              <a:gd name="connsiteX2" fmla="*/ 1565453 w 3873602"/>
              <a:gd name="connsiteY2" fmla="*/ 3543 h 4386262"/>
              <a:gd name="connsiteX3" fmla="*/ 3873602 w 3873602"/>
              <a:gd name="connsiteY3" fmla="*/ 4386262 h 4386262"/>
              <a:gd name="connsiteX4" fmla="*/ 0 w 3873602"/>
              <a:gd name="connsiteY4" fmla="*/ 4386262 h 4386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3602" h="4386262">
                <a:moveTo>
                  <a:pt x="0" y="4386262"/>
                </a:moveTo>
                <a:lnTo>
                  <a:pt x="0" y="0"/>
                </a:lnTo>
                <a:lnTo>
                  <a:pt x="1565453" y="3543"/>
                </a:lnTo>
                <a:lnTo>
                  <a:pt x="3873602" y="4386262"/>
                </a:lnTo>
                <a:lnTo>
                  <a:pt x="0" y="43862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 eaLnBrk="1"/>
            <a:endParaRPr lang="de-DE" sz="2400">
              <a:latin typeface="+mj-lt"/>
            </a:endParaRP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6"/>
            </p:custDataLst>
          </p:nvPr>
        </p:nvGraphicFramePr>
        <p:xfrm>
          <a:off x="1904" y="1904"/>
          <a:ext cx="1902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9" imgW="270" imgH="270" progId="TCLayout.ActiveDocument.1">
                  <p:embed/>
                </p:oleObj>
              </mc:Choice>
              <mc:Fallback>
                <p:oleObj name="think-cell Folie" r:id="rId39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904" y="1904"/>
                        <a:ext cx="1902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KPL08" hidden="1"/>
          <p:cNvSpPr/>
          <p:nvPr userDrawn="1"/>
        </p:nvSpPr>
        <p:spPr>
          <a:xfrm>
            <a:off x="9469280" y="6483379"/>
            <a:ext cx="935231" cy="366182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de-DE" sz="1678" b="0">
                <a:solidFill>
                  <a:srgbClr val="658E11"/>
                </a:solidFill>
              </a:rPr>
              <a:t>Keine Kenntlichmachung</a:t>
            </a:r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76410061-FB63-394F-8BEB-39D45BA00EA9}"/>
              </a:ext>
            </a:extLst>
          </p:cNvPr>
          <p:cNvSpPr/>
          <p:nvPr userDrawn="1"/>
        </p:nvSpPr>
        <p:spPr>
          <a:xfrm>
            <a:off x="-1717" y="6022400"/>
            <a:ext cx="859887" cy="500919"/>
          </a:xfrm>
          <a:custGeom>
            <a:avLst/>
            <a:gdLst>
              <a:gd name="connsiteX0" fmla="*/ 0 w 407233"/>
              <a:gd name="connsiteY0" fmla="*/ 0 h 374401"/>
              <a:gd name="connsiteX1" fmla="*/ 407233 w 407233"/>
              <a:gd name="connsiteY1" fmla="*/ 0 h 374401"/>
              <a:gd name="connsiteX2" fmla="*/ 407233 w 407233"/>
              <a:gd name="connsiteY2" fmla="*/ 374401 h 374401"/>
              <a:gd name="connsiteX3" fmla="*/ 0 w 407233"/>
              <a:gd name="connsiteY3" fmla="*/ 374401 h 374401"/>
              <a:gd name="connsiteX4" fmla="*/ 0 w 407233"/>
              <a:gd name="connsiteY4" fmla="*/ 0 h 374401"/>
              <a:gd name="connsiteX0" fmla="*/ 0 w 592112"/>
              <a:gd name="connsiteY0" fmla="*/ 0 h 374401"/>
              <a:gd name="connsiteX1" fmla="*/ 592112 w 592112"/>
              <a:gd name="connsiteY1" fmla="*/ 2499 h 374401"/>
              <a:gd name="connsiteX2" fmla="*/ 407233 w 592112"/>
              <a:gd name="connsiteY2" fmla="*/ 374401 h 374401"/>
              <a:gd name="connsiteX3" fmla="*/ 0 w 592112"/>
              <a:gd name="connsiteY3" fmla="*/ 374401 h 374401"/>
              <a:gd name="connsiteX4" fmla="*/ 0 w 592112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07233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374401"/>
              <a:gd name="connsiteX1" fmla="*/ 643627 w 643627"/>
              <a:gd name="connsiteY1" fmla="*/ 2499 h 374401"/>
              <a:gd name="connsiteX2" fmla="*/ 453597 w 643627"/>
              <a:gd name="connsiteY2" fmla="*/ 374401 h 374401"/>
              <a:gd name="connsiteX3" fmla="*/ 0 w 643627"/>
              <a:gd name="connsiteY3" fmla="*/ 374401 h 374401"/>
              <a:gd name="connsiteX4" fmla="*/ 0 w 643627"/>
              <a:gd name="connsiteY4" fmla="*/ 0 h 374401"/>
              <a:gd name="connsiteX0" fmla="*/ 0 w 643627"/>
              <a:gd name="connsiteY0" fmla="*/ 0 h 465841"/>
              <a:gd name="connsiteX1" fmla="*/ 643627 w 643627"/>
              <a:gd name="connsiteY1" fmla="*/ 2499 h 465841"/>
              <a:gd name="connsiteX2" fmla="*/ 453597 w 643627"/>
              <a:gd name="connsiteY2" fmla="*/ 374401 h 465841"/>
              <a:gd name="connsiteX3" fmla="*/ 91440 w 643627"/>
              <a:gd name="connsiteY3" fmla="*/ 465841 h 465841"/>
              <a:gd name="connsiteX0" fmla="*/ 1288 w 644915"/>
              <a:gd name="connsiteY0" fmla="*/ 0 h 375689"/>
              <a:gd name="connsiteX1" fmla="*/ 644915 w 644915"/>
              <a:gd name="connsiteY1" fmla="*/ 2499 h 375689"/>
              <a:gd name="connsiteX2" fmla="*/ 454885 w 644915"/>
              <a:gd name="connsiteY2" fmla="*/ 374401 h 375689"/>
              <a:gd name="connsiteX3" fmla="*/ 0 w 644915"/>
              <a:gd name="connsiteY3" fmla="*/ 375689 h 375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4915" h="375689">
                <a:moveTo>
                  <a:pt x="1288" y="0"/>
                </a:moveTo>
                <a:lnTo>
                  <a:pt x="644915" y="2499"/>
                </a:lnTo>
                <a:lnTo>
                  <a:pt x="454885" y="374401"/>
                </a:lnTo>
                <a:lnTo>
                  <a:pt x="0" y="375689"/>
                </a:lnTo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3997" tIns="47999" rIns="143997" bIns="47999" rtlCol="0" anchor="ctr" anchorCtr="0">
            <a:normAutofit/>
          </a:bodyPr>
          <a:lstStyle/>
          <a:p>
            <a:pPr algn="ctr"/>
            <a:endParaRPr lang="de-DE" sz="2400">
              <a:latin typeface="+mj-lt"/>
            </a:endParaRPr>
          </a:p>
        </p:txBody>
      </p:sp>
      <p:sp>
        <p:nvSpPr>
          <p:cNvPr id="22" name="textBoxPageXFromY">
            <a:extLst>
              <a:ext uri="{FF2B5EF4-FFF2-40B4-BE49-F238E27FC236}">
                <a16:creationId xmlns:a16="http://schemas.microsoft.com/office/drawing/2014/main" id="{6C2ED314-14D2-FA4B-80DF-F41F7F264F70}"/>
              </a:ext>
            </a:extLst>
          </p:cNvPr>
          <p:cNvSpPr txBox="1">
            <a:spLocks/>
          </p:cNvSpPr>
          <p:nvPr userDrawn="1"/>
        </p:nvSpPr>
        <p:spPr>
          <a:xfrm>
            <a:off x="-1715" y="6104003"/>
            <a:ext cx="712117" cy="36618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52C284-3A18-46CD-903D-DE3079F66B98}" type="slidenum">
              <a:rPr lang="de-DE" sz="1079" smtClean="0"/>
              <a:t>‹Nr.›</a:t>
            </a:fld>
            <a:r>
              <a:rPr lang="de-DE" sz="1079"/>
              <a:t>/25</a:t>
            </a:r>
          </a:p>
        </p:txBody>
      </p:sp>
      <p:grpSp>
        <p:nvGrpSpPr>
          <p:cNvPr id="23" name="picPorsche">
            <a:extLst>
              <a:ext uri="{FF2B5EF4-FFF2-40B4-BE49-F238E27FC236}">
                <a16:creationId xmlns:a16="http://schemas.microsoft.com/office/drawing/2014/main" id="{CBBA5313-32CD-FD49-A6C2-772037E4C36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61280" y="6223965"/>
            <a:ext cx="2400000" cy="180756"/>
            <a:chOff x="3848100" y="2519363"/>
            <a:chExt cx="1452563" cy="109538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D26CA93C-FBBD-8C40-879D-C4FA14456A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813" y="2519363"/>
              <a:ext cx="196850" cy="109538"/>
            </a:xfrm>
            <a:custGeom>
              <a:avLst/>
              <a:gdLst>
                <a:gd name="T0" fmla="*/ 124 w 124"/>
                <a:gd name="T1" fmla="*/ 12 h 69"/>
                <a:gd name="T2" fmla="*/ 124 w 124"/>
                <a:gd name="T3" fmla="*/ 0 h 69"/>
                <a:gd name="T4" fmla="*/ 0 w 124"/>
                <a:gd name="T5" fmla="*/ 0 h 69"/>
                <a:gd name="T6" fmla="*/ 0 w 124"/>
                <a:gd name="T7" fmla="*/ 69 h 69"/>
                <a:gd name="T8" fmla="*/ 124 w 124"/>
                <a:gd name="T9" fmla="*/ 69 h 69"/>
                <a:gd name="T10" fmla="*/ 124 w 124"/>
                <a:gd name="T11" fmla="*/ 57 h 69"/>
                <a:gd name="T12" fmla="*/ 13 w 124"/>
                <a:gd name="T13" fmla="*/ 57 h 69"/>
                <a:gd name="T14" fmla="*/ 13 w 124"/>
                <a:gd name="T15" fmla="*/ 39 h 69"/>
                <a:gd name="T16" fmla="*/ 124 w 124"/>
                <a:gd name="T17" fmla="*/ 39 h 69"/>
                <a:gd name="T18" fmla="*/ 124 w 124"/>
                <a:gd name="T19" fmla="*/ 27 h 69"/>
                <a:gd name="T20" fmla="*/ 13 w 124"/>
                <a:gd name="T21" fmla="*/ 27 h 69"/>
                <a:gd name="T22" fmla="*/ 13 w 124"/>
                <a:gd name="T23" fmla="*/ 12 h 69"/>
                <a:gd name="T24" fmla="*/ 124 w 124"/>
                <a:gd name="T25" fmla="*/ 1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69">
                  <a:moveTo>
                    <a:pt x="124" y="12"/>
                  </a:moveTo>
                  <a:lnTo>
                    <a:pt x="124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24" y="69"/>
                  </a:lnTo>
                  <a:lnTo>
                    <a:pt x="124" y="57"/>
                  </a:lnTo>
                  <a:lnTo>
                    <a:pt x="13" y="57"/>
                  </a:lnTo>
                  <a:lnTo>
                    <a:pt x="13" y="39"/>
                  </a:lnTo>
                  <a:lnTo>
                    <a:pt x="124" y="39"/>
                  </a:lnTo>
                  <a:lnTo>
                    <a:pt x="124" y="27"/>
                  </a:lnTo>
                  <a:lnTo>
                    <a:pt x="13" y="27"/>
                  </a:lnTo>
                  <a:lnTo>
                    <a:pt x="13" y="12"/>
                  </a:lnTo>
                  <a:lnTo>
                    <a:pt x="124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CD934BCF-6F13-F348-A3AD-5B1C999C6D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3788" y="2519363"/>
              <a:ext cx="174625" cy="109538"/>
            </a:xfrm>
            <a:custGeom>
              <a:avLst/>
              <a:gdLst>
                <a:gd name="T0" fmla="*/ 96 w 110"/>
                <a:gd name="T1" fmla="*/ 27 h 69"/>
                <a:gd name="T2" fmla="*/ 13 w 110"/>
                <a:gd name="T3" fmla="*/ 27 h 69"/>
                <a:gd name="T4" fmla="*/ 13 w 110"/>
                <a:gd name="T5" fmla="*/ 0 h 69"/>
                <a:gd name="T6" fmla="*/ 0 w 110"/>
                <a:gd name="T7" fmla="*/ 0 h 69"/>
                <a:gd name="T8" fmla="*/ 0 w 110"/>
                <a:gd name="T9" fmla="*/ 69 h 69"/>
                <a:gd name="T10" fmla="*/ 13 w 110"/>
                <a:gd name="T11" fmla="*/ 69 h 69"/>
                <a:gd name="T12" fmla="*/ 13 w 110"/>
                <a:gd name="T13" fmla="*/ 42 h 69"/>
                <a:gd name="T14" fmla="*/ 96 w 110"/>
                <a:gd name="T15" fmla="*/ 42 h 69"/>
                <a:gd name="T16" fmla="*/ 96 w 110"/>
                <a:gd name="T17" fmla="*/ 69 h 69"/>
                <a:gd name="T18" fmla="*/ 110 w 110"/>
                <a:gd name="T19" fmla="*/ 69 h 69"/>
                <a:gd name="T20" fmla="*/ 110 w 110"/>
                <a:gd name="T21" fmla="*/ 42 h 69"/>
                <a:gd name="T22" fmla="*/ 110 w 110"/>
                <a:gd name="T23" fmla="*/ 27 h 69"/>
                <a:gd name="T24" fmla="*/ 110 w 110"/>
                <a:gd name="T25" fmla="*/ 0 h 69"/>
                <a:gd name="T26" fmla="*/ 96 w 110"/>
                <a:gd name="T27" fmla="*/ 0 h 69"/>
                <a:gd name="T28" fmla="*/ 96 w 110"/>
                <a:gd name="T2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" h="69">
                  <a:moveTo>
                    <a:pt x="96" y="27"/>
                  </a:moveTo>
                  <a:lnTo>
                    <a:pt x="13" y="27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69"/>
                  </a:lnTo>
                  <a:lnTo>
                    <a:pt x="13" y="69"/>
                  </a:lnTo>
                  <a:lnTo>
                    <a:pt x="13" y="42"/>
                  </a:lnTo>
                  <a:lnTo>
                    <a:pt x="96" y="42"/>
                  </a:lnTo>
                  <a:lnTo>
                    <a:pt x="96" y="69"/>
                  </a:lnTo>
                  <a:lnTo>
                    <a:pt x="110" y="69"/>
                  </a:lnTo>
                  <a:lnTo>
                    <a:pt x="110" y="42"/>
                  </a:lnTo>
                  <a:lnTo>
                    <a:pt x="110" y="27"/>
                  </a:lnTo>
                  <a:lnTo>
                    <a:pt x="110" y="0"/>
                  </a:lnTo>
                  <a:lnTo>
                    <a:pt x="96" y="0"/>
                  </a:lnTo>
                  <a:lnTo>
                    <a:pt x="96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BFA79A0-5AD0-0A40-BD13-EA25487CC2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7413" y="2519363"/>
              <a:ext cx="179388" cy="109538"/>
            </a:xfrm>
            <a:custGeom>
              <a:avLst/>
              <a:gdLst>
                <a:gd name="T0" fmla="*/ 0 w 42"/>
                <a:gd name="T1" fmla="*/ 5 h 23"/>
                <a:gd name="T2" fmla="*/ 0 w 42"/>
                <a:gd name="T3" fmla="*/ 18 h 23"/>
                <a:gd name="T4" fmla="*/ 5 w 42"/>
                <a:gd name="T5" fmla="*/ 23 h 23"/>
                <a:gd name="T6" fmla="*/ 42 w 42"/>
                <a:gd name="T7" fmla="*/ 23 h 23"/>
                <a:gd name="T8" fmla="*/ 42 w 42"/>
                <a:gd name="T9" fmla="*/ 18 h 23"/>
                <a:gd name="T10" fmla="*/ 6 w 42"/>
                <a:gd name="T11" fmla="*/ 18 h 23"/>
                <a:gd name="T12" fmla="*/ 5 w 42"/>
                <a:gd name="T13" fmla="*/ 17 h 23"/>
                <a:gd name="T14" fmla="*/ 5 w 42"/>
                <a:gd name="T15" fmla="*/ 5 h 23"/>
                <a:gd name="T16" fmla="*/ 6 w 42"/>
                <a:gd name="T17" fmla="*/ 5 h 23"/>
                <a:gd name="T18" fmla="*/ 42 w 42"/>
                <a:gd name="T19" fmla="*/ 5 h 23"/>
                <a:gd name="T20" fmla="*/ 42 w 42"/>
                <a:gd name="T21" fmla="*/ 0 h 23"/>
                <a:gd name="T22" fmla="*/ 5 w 42"/>
                <a:gd name="T23" fmla="*/ 0 h 23"/>
                <a:gd name="T24" fmla="*/ 0 w 42"/>
                <a:gd name="T25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0" y="5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2" y="23"/>
                    <a:pt x="5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7"/>
                    <a:pt x="5" y="1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8830C25E-1DCD-A444-83D4-A859B36221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84688" y="2519363"/>
              <a:ext cx="187325" cy="109538"/>
            </a:xfrm>
            <a:custGeom>
              <a:avLst/>
              <a:gdLst>
                <a:gd name="T0" fmla="*/ 38 w 44"/>
                <a:gd name="T1" fmla="*/ 9 h 23"/>
                <a:gd name="T2" fmla="*/ 6 w 44"/>
                <a:gd name="T3" fmla="*/ 9 h 23"/>
                <a:gd name="T4" fmla="*/ 6 w 44"/>
                <a:gd name="T5" fmla="*/ 9 h 23"/>
                <a:gd name="T6" fmla="*/ 5 w 44"/>
                <a:gd name="T7" fmla="*/ 8 h 23"/>
                <a:gd name="T8" fmla="*/ 5 w 44"/>
                <a:gd name="T9" fmla="*/ 5 h 23"/>
                <a:gd name="T10" fmla="*/ 6 w 44"/>
                <a:gd name="T11" fmla="*/ 4 h 23"/>
                <a:gd name="T12" fmla="*/ 43 w 44"/>
                <a:gd name="T13" fmla="*/ 4 h 23"/>
                <a:gd name="T14" fmla="*/ 43 w 44"/>
                <a:gd name="T15" fmla="*/ 0 h 23"/>
                <a:gd name="T16" fmla="*/ 5 w 44"/>
                <a:gd name="T17" fmla="*/ 0 h 23"/>
                <a:gd name="T18" fmla="*/ 0 w 44"/>
                <a:gd name="T19" fmla="*/ 5 h 23"/>
                <a:gd name="T20" fmla="*/ 0 w 44"/>
                <a:gd name="T21" fmla="*/ 8 h 23"/>
                <a:gd name="T22" fmla="*/ 5 w 44"/>
                <a:gd name="T23" fmla="*/ 13 h 23"/>
                <a:gd name="T24" fmla="*/ 38 w 44"/>
                <a:gd name="T25" fmla="*/ 13 h 23"/>
                <a:gd name="T26" fmla="*/ 38 w 44"/>
                <a:gd name="T27" fmla="*/ 14 h 23"/>
                <a:gd name="T28" fmla="*/ 38 w 44"/>
                <a:gd name="T29" fmla="*/ 14 h 23"/>
                <a:gd name="T30" fmla="*/ 38 w 44"/>
                <a:gd name="T31" fmla="*/ 18 h 23"/>
                <a:gd name="T32" fmla="*/ 38 w 44"/>
                <a:gd name="T33" fmla="*/ 19 h 23"/>
                <a:gd name="T34" fmla="*/ 0 w 44"/>
                <a:gd name="T35" fmla="*/ 19 h 23"/>
                <a:gd name="T36" fmla="*/ 0 w 44"/>
                <a:gd name="T37" fmla="*/ 23 h 23"/>
                <a:gd name="T38" fmla="*/ 38 w 44"/>
                <a:gd name="T39" fmla="*/ 23 h 23"/>
                <a:gd name="T40" fmla="*/ 44 w 44"/>
                <a:gd name="T41" fmla="*/ 18 h 23"/>
                <a:gd name="T42" fmla="*/ 44 w 44"/>
                <a:gd name="T43" fmla="*/ 18 h 23"/>
                <a:gd name="T44" fmla="*/ 44 w 44"/>
                <a:gd name="T45" fmla="*/ 14 h 23"/>
                <a:gd name="T46" fmla="*/ 44 w 44"/>
                <a:gd name="T47" fmla="*/ 14 h 23"/>
                <a:gd name="T48" fmla="*/ 38 w 44"/>
                <a:gd name="T4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" h="23">
                  <a:moveTo>
                    <a:pt x="38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2" y="13"/>
                    <a:pt x="5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11"/>
                    <a:pt x="41" y="9"/>
                    <a:pt x="38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F624E37A-C830-AD49-A3F7-67B54D7543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0375" y="2519363"/>
              <a:ext cx="188913" cy="109538"/>
            </a:xfrm>
            <a:custGeom>
              <a:avLst/>
              <a:gdLst>
                <a:gd name="T0" fmla="*/ 39 w 44"/>
                <a:gd name="T1" fmla="*/ 15 h 23"/>
                <a:gd name="T2" fmla="*/ 44 w 44"/>
                <a:gd name="T3" fmla="*/ 10 h 23"/>
                <a:gd name="T4" fmla="*/ 44 w 44"/>
                <a:gd name="T5" fmla="*/ 5 h 23"/>
                <a:gd name="T6" fmla="*/ 39 w 44"/>
                <a:gd name="T7" fmla="*/ 0 h 23"/>
                <a:gd name="T8" fmla="*/ 39 w 44"/>
                <a:gd name="T9" fmla="*/ 0 h 23"/>
                <a:gd name="T10" fmla="*/ 0 w 44"/>
                <a:gd name="T11" fmla="*/ 0 h 23"/>
                <a:gd name="T12" fmla="*/ 0 w 44"/>
                <a:gd name="T13" fmla="*/ 23 h 23"/>
                <a:gd name="T14" fmla="*/ 5 w 44"/>
                <a:gd name="T15" fmla="*/ 23 h 23"/>
                <a:gd name="T16" fmla="*/ 5 w 44"/>
                <a:gd name="T17" fmla="*/ 17 h 23"/>
                <a:gd name="T18" fmla="*/ 33 w 44"/>
                <a:gd name="T19" fmla="*/ 17 h 23"/>
                <a:gd name="T20" fmla="*/ 33 w 44"/>
                <a:gd name="T21" fmla="*/ 17 h 23"/>
                <a:gd name="T22" fmla="*/ 39 w 44"/>
                <a:gd name="T23" fmla="*/ 22 h 23"/>
                <a:gd name="T24" fmla="*/ 39 w 44"/>
                <a:gd name="T25" fmla="*/ 23 h 23"/>
                <a:gd name="T26" fmla="*/ 44 w 44"/>
                <a:gd name="T27" fmla="*/ 23 h 23"/>
                <a:gd name="T28" fmla="*/ 44 w 44"/>
                <a:gd name="T29" fmla="*/ 23 h 23"/>
                <a:gd name="T30" fmla="*/ 39 w 44"/>
                <a:gd name="T31" fmla="*/ 15 h 23"/>
                <a:gd name="T32" fmla="*/ 39 w 44"/>
                <a:gd name="T33" fmla="*/ 11 h 23"/>
                <a:gd name="T34" fmla="*/ 39 w 44"/>
                <a:gd name="T35" fmla="*/ 11 h 23"/>
                <a:gd name="T36" fmla="*/ 38 w 44"/>
                <a:gd name="T37" fmla="*/ 12 h 23"/>
                <a:gd name="T38" fmla="*/ 5 w 44"/>
                <a:gd name="T39" fmla="*/ 12 h 23"/>
                <a:gd name="T40" fmla="*/ 5 w 44"/>
                <a:gd name="T41" fmla="*/ 5 h 23"/>
                <a:gd name="T42" fmla="*/ 38 w 44"/>
                <a:gd name="T43" fmla="*/ 5 h 23"/>
                <a:gd name="T44" fmla="*/ 39 w 44"/>
                <a:gd name="T45" fmla="*/ 6 h 23"/>
                <a:gd name="T46" fmla="*/ 39 w 44"/>
                <a:gd name="T4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23">
                  <a:moveTo>
                    <a:pt x="39" y="15"/>
                  </a:moveTo>
                  <a:cubicBezTo>
                    <a:pt x="42" y="15"/>
                    <a:pt x="44" y="13"/>
                    <a:pt x="44" y="10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6" y="17"/>
                    <a:pt x="39" y="19"/>
                    <a:pt x="39" y="2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9"/>
                    <a:pt x="42" y="16"/>
                    <a:pt x="39" y="15"/>
                  </a:cubicBezTo>
                  <a:close/>
                  <a:moveTo>
                    <a:pt x="39" y="11"/>
                  </a:move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9" y="5"/>
                    <a:pt x="39" y="6"/>
                  </a:cubicBezTo>
                  <a:lnTo>
                    <a:pt x="39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9623D47-5DE1-554E-8AAC-A1C1FFB207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57650" y="2519363"/>
              <a:ext cx="187325" cy="109538"/>
            </a:xfrm>
            <a:custGeom>
              <a:avLst/>
              <a:gdLst>
                <a:gd name="T0" fmla="*/ 39 w 44"/>
                <a:gd name="T1" fmla="*/ 0 h 23"/>
                <a:gd name="T2" fmla="*/ 39 w 44"/>
                <a:gd name="T3" fmla="*/ 0 h 23"/>
                <a:gd name="T4" fmla="*/ 6 w 44"/>
                <a:gd name="T5" fmla="*/ 0 h 23"/>
                <a:gd name="T6" fmla="*/ 0 w 44"/>
                <a:gd name="T7" fmla="*/ 5 h 23"/>
                <a:gd name="T8" fmla="*/ 0 w 44"/>
                <a:gd name="T9" fmla="*/ 18 h 23"/>
                <a:gd name="T10" fmla="*/ 6 w 44"/>
                <a:gd name="T11" fmla="*/ 23 h 23"/>
                <a:gd name="T12" fmla="*/ 38 w 44"/>
                <a:gd name="T13" fmla="*/ 23 h 23"/>
                <a:gd name="T14" fmla="*/ 44 w 44"/>
                <a:gd name="T15" fmla="*/ 18 h 23"/>
                <a:gd name="T16" fmla="*/ 44 w 44"/>
                <a:gd name="T17" fmla="*/ 18 h 23"/>
                <a:gd name="T18" fmla="*/ 44 w 44"/>
                <a:gd name="T19" fmla="*/ 18 h 23"/>
                <a:gd name="T20" fmla="*/ 44 w 44"/>
                <a:gd name="T21" fmla="*/ 5 h 23"/>
                <a:gd name="T22" fmla="*/ 39 w 44"/>
                <a:gd name="T23" fmla="*/ 0 h 23"/>
                <a:gd name="T24" fmla="*/ 38 w 44"/>
                <a:gd name="T25" fmla="*/ 17 h 23"/>
                <a:gd name="T26" fmla="*/ 38 w 44"/>
                <a:gd name="T27" fmla="*/ 18 h 23"/>
                <a:gd name="T28" fmla="*/ 6 w 44"/>
                <a:gd name="T29" fmla="*/ 18 h 23"/>
                <a:gd name="T30" fmla="*/ 6 w 44"/>
                <a:gd name="T31" fmla="*/ 17 h 23"/>
                <a:gd name="T32" fmla="*/ 6 w 44"/>
                <a:gd name="T33" fmla="*/ 5 h 23"/>
                <a:gd name="T34" fmla="*/ 6 w 44"/>
                <a:gd name="T35" fmla="*/ 5 h 23"/>
                <a:gd name="T36" fmla="*/ 38 w 44"/>
                <a:gd name="T37" fmla="*/ 5 h 23"/>
                <a:gd name="T38" fmla="*/ 38 w 44"/>
                <a:gd name="T39" fmla="*/ 6 h 23"/>
                <a:gd name="T40" fmla="*/ 38 w 44"/>
                <a:gd name="T41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23"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3" y="23"/>
                    <a:pt x="6" y="2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3"/>
                    <a:pt x="44" y="21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2"/>
                    <a:pt x="41" y="0"/>
                    <a:pt x="39" y="0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8"/>
                    <a:pt x="3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7"/>
                    <a:pt x="6" y="17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DAF7E169-8825-7248-9FB1-2A1655A427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48100" y="2519363"/>
              <a:ext cx="184150" cy="109538"/>
            </a:xfrm>
            <a:custGeom>
              <a:avLst/>
              <a:gdLst>
                <a:gd name="T0" fmla="*/ 38 w 43"/>
                <a:gd name="T1" fmla="*/ 0 h 23"/>
                <a:gd name="T2" fmla="*/ 38 w 43"/>
                <a:gd name="T3" fmla="*/ 0 h 23"/>
                <a:gd name="T4" fmla="*/ 0 w 43"/>
                <a:gd name="T5" fmla="*/ 0 h 23"/>
                <a:gd name="T6" fmla="*/ 0 w 43"/>
                <a:gd name="T7" fmla="*/ 23 h 23"/>
                <a:gd name="T8" fmla="*/ 5 w 43"/>
                <a:gd name="T9" fmla="*/ 23 h 23"/>
                <a:gd name="T10" fmla="*/ 5 w 43"/>
                <a:gd name="T11" fmla="*/ 17 h 23"/>
                <a:gd name="T12" fmla="*/ 38 w 43"/>
                <a:gd name="T13" fmla="*/ 17 h 23"/>
                <a:gd name="T14" fmla="*/ 43 w 43"/>
                <a:gd name="T15" fmla="*/ 12 h 23"/>
                <a:gd name="T16" fmla="*/ 43 w 43"/>
                <a:gd name="T17" fmla="*/ 5 h 23"/>
                <a:gd name="T18" fmla="*/ 38 w 43"/>
                <a:gd name="T19" fmla="*/ 0 h 23"/>
                <a:gd name="T20" fmla="*/ 38 w 43"/>
                <a:gd name="T21" fmla="*/ 11 h 23"/>
                <a:gd name="T22" fmla="*/ 38 w 43"/>
                <a:gd name="T23" fmla="*/ 12 h 23"/>
                <a:gd name="T24" fmla="*/ 5 w 43"/>
                <a:gd name="T25" fmla="*/ 12 h 23"/>
                <a:gd name="T26" fmla="*/ 5 w 43"/>
                <a:gd name="T27" fmla="*/ 5 h 23"/>
                <a:gd name="T28" fmla="*/ 37 w 43"/>
                <a:gd name="T29" fmla="*/ 5 h 23"/>
                <a:gd name="T30" fmla="*/ 38 w 43"/>
                <a:gd name="T31" fmla="*/ 6 h 23"/>
                <a:gd name="T32" fmla="*/ 38 w 43"/>
                <a:gd name="T3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23">
                  <a:moveTo>
                    <a:pt x="38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41" y="17"/>
                    <a:pt x="43" y="14"/>
                    <a:pt x="43" y="12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2"/>
                    <a:pt x="41" y="0"/>
                    <a:pt x="38" y="0"/>
                  </a:cubicBezTo>
                  <a:close/>
                  <a:moveTo>
                    <a:pt x="38" y="11"/>
                  </a:moveTo>
                  <a:cubicBezTo>
                    <a:pt x="38" y="11"/>
                    <a:pt x="38" y="12"/>
                    <a:pt x="38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5"/>
                    <a:pt x="38" y="5"/>
                    <a:pt x="38" y="6"/>
                  </a:cubicBezTo>
                  <a:lnTo>
                    <a:pt x="38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35" name="textBoxChangeDate">
            <a:extLst>
              <a:ext uri="{FF2B5EF4-FFF2-40B4-BE49-F238E27FC236}">
                <a16:creationId xmlns:a16="http://schemas.microsoft.com/office/drawing/2014/main" id="{E66FA289-8747-411D-B981-EE77120C2E7A}"/>
              </a:ext>
            </a:extLst>
          </p:cNvPr>
          <p:cNvSpPr txBox="1">
            <a:spLocks/>
          </p:cNvSpPr>
          <p:nvPr userDrawn="1"/>
        </p:nvSpPr>
        <p:spPr>
          <a:xfrm>
            <a:off x="1238801" y="6125228"/>
            <a:ext cx="1679947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Änderungsdatum: 23.07.2020</a:t>
            </a:r>
          </a:p>
        </p:txBody>
      </p:sp>
      <p:sp>
        <p:nvSpPr>
          <p:cNvPr id="36" name="textBoxCreationDate">
            <a:extLst>
              <a:ext uri="{FF2B5EF4-FFF2-40B4-BE49-F238E27FC236}">
                <a16:creationId xmlns:a16="http://schemas.microsoft.com/office/drawing/2014/main" id="{4DE7E2AF-F273-4E0D-95F2-BA2DCD4C1100}"/>
              </a:ext>
            </a:extLst>
          </p:cNvPr>
          <p:cNvSpPr txBox="1">
            <a:spLocks/>
          </p:cNvSpPr>
          <p:nvPr userDrawn="1"/>
        </p:nvSpPr>
        <p:spPr>
          <a:xfrm>
            <a:off x="1238801" y="6306106"/>
            <a:ext cx="1699183" cy="1660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79" b="0"/>
              <a:t>Erstellungsdatum: 23.07.2020</a:t>
            </a:r>
          </a:p>
        </p:txBody>
      </p:sp>
      <p:sp>
        <p:nvSpPr>
          <p:cNvPr id="20" name="textBoxUserName">
            <a:extLst>
              <a:ext uri="{FF2B5EF4-FFF2-40B4-BE49-F238E27FC236}">
                <a16:creationId xmlns:a16="http://schemas.microsoft.com/office/drawing/2014/main" id="{4256B69B-FB45-44AE-9888-1CD421195833}"/>
              </a:ext>
            </a:extLst>
          </p:cNvPr>
          <p:cNvSpPr txBox="1">
            <a:spLocks noChangeArrowheads="1"/>
          </p:cNvSpPr>
          <p:nvPr userDrawn="1">
            <p:custDataLst>
              <p:tags r:id="rId37"/>
            </p:custDataLst>
          </p:nvPr>
        </p:nvSpPr>
        <p:spPr bwMode="auto">
          <a:xfrm>
            <a:off x="213127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  <p:sp>
        <p:nvSpPr>
          <p:cNvPr id="21" name="textBoxDepartment">
            <a:extLst>
              <a:ext uri="{FF2B5EF4-FFF2-40B4-BE49-F238E27FC236}">
                <a16:creationId xmlns:a16="http://schemas.microsoft.com/office/drawing/2014/main" id="{94C697CA-6027-452F-B1DA-30301A41340C}"/>
              </a:ext>
            </a:extLst>
          </p:cNvPr>
          <p:cNvSpPr txBox="1">
            <a:spLocks noChangeArrowheads="1"/>
          </p:cNvSpPr>
          <p:nvPr userDrawn="1">
            <p:custDataLst>
              <p:tags r:id="rId38"/>
            </p:custDataLst>
          </p:nvPr>
        </p:nvSpPr>
        <p:spPr bwMode="auto">
          <a:xfrm>
            <a:off x="304545" y="6633908"/>
            <a:ext cx="65" cy="12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buClrTx/>
              <a:buFontTx/>
              <a:buNone/>
            </a:pPr>
            <a:endParaRPr lang="de-DE" sz="839"/>
          </a:p>
        </p:txBody>
      </p:sp>
    </p:spTree>
    <p:extLst>
      <p:ext uri="{BB962C8B-B14F-4D97-AF65-F5344CB8AC3E}">
        <p14:creationId xmlns:p14="http://schemas.microsoft.com/office/powerpoint/2010/main" val="3460973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1" r:id="rId31"/>
    <p:sldLayoutId id="2147483742" r:id="rId32"/>
    <p:sldLayoutId id="2147483743" r:id="rId33"/>
    <p:sldLayoutId id="2147483744" r:id="rId34"/>
  </p:sldLayoutIdLst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  <p:txStyles>
    <p:titleStyle>
      <a:lvl1pPr algn="l" defTabSz="1096091" rtl="0" eaLnBrk="1" latinLnBrk="0" hangingPunct="1">
        <a:lnSpc>
          <a:spcPct val="100000"/>
        </a:lnSpc>
        <a:spcBef>
          <a:spcPct val="0"/>
        </a:spcBef>
        <a:buNone/>
        <a:defRPr sz="287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>
          <a:prstClr val="black"/>
        </a:buClr>
        <a:buSzPct val="90000"/>
        <a:buFontTx/>
        <a:buNone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1pPr>
      <a:lvl2pPr marL="215032" marR="0" indent="-215032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2pPr>
      <a:lvl3pPr marL="430064" marR="0" indent="-215032" algn="l" defTabSz="430064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Porsche News Gothic" panose="02000400000000000000" pitchFamily="2" charset="0"/>
        <a:buChar char="•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3pPr>
      <a:lvl4pPr marL="645096" marR="0" indent="-215032" algn="l" defTabSz="645096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Symbol" panose="05050102010706020507" pitchFamily="18" charset="2"/>
        <a:buChar char="-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4pPr>
      <a:lvl5pPr marL="863064" marR="0" indent="-215032" algn="l" defTabSz="860127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>
          <a:solidFill>
            <a:schemeClr val="tx1"/>
          </a:solidFill>
          <a:latin typeface="+mn-lt"/>
          <a:ea typeface="+mn-ea"/>
          <a:cs typeface="+mn-cs"/>
        </a:defRPr>
      </a:lvl5pPr>
      <a:lvl6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077062" marR="0" indent="-216935" algn="l" defTabSz="1096091" rtl="0" eaLnBrk="1" fontAlgn="auto" latinLnBrk="0" hangingPunct="1">
        <a:lnSpc>
          <a:spcPct val="106000"/>
        </a:lnSpc>
        <a:spcBef>
          <a:spcPts val="0"/>
        </a:spcBef>
        <a:spcAft>
          <a:spcPts val="0"/>
        </a:spcAft>
        <a:buClrTx/>
        <a:buSzPct val="90000"/>
        <a:buFont typeface="NewsGoth for Porsche Com" pitchFamily="34" charset="0"/>
        <a:buChar char="•"/>
        <a:tabLst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Tx/>
        <a:buNone/>
        <a:defRPr sz="2158" kern="1200">
          <a:solidFill>
            <a:schemeClr val="tx1"/>
          </a:solidFill>
          <a:latin typeface="+mn-lt"/>
          <a:ea typeface="+mn-ea"/>
          <a:cs typeface="+mn-cs"/>
        </a:defRPr>
      </a:lvl1pPr>
      <a:lvl2pPr marL="215766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2pPr>
      <a:lvl3pPr marL="647298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3pPr>
      <a:lvl4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4pPr>
      <a:lvl5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>
          <a:solidFill>
            <a:schemeClr val="tx1"/>
          </a:solidFill>
          <a:latin typeface="+mn-lt"/>
          <a:ea typeface="+mn-ea"/>
          <a:cs typeface="+mn-cs"/>
        </a:defRPr>
      </a:lvl5pPr>
      <a:lvl6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078830" indent="-215766" algn="l" defTabSz="1096091" rtl="0" eaLnBrk="1" latinLnBrk="0" hangingPunct="1">
        <a:lnSpc>
          <a:spcPct val="106000"/>
        </a:lnSpc>
        <a:spcBef>
          <a:spcPts val="0"/>
        </a:spcBef>
        <a:buClr>
          <a:schemeClr val="tx1"/>
        </a:buClr>
        <a:buSzPct val="90000"/>
        <a:buFont typeface="NewsGoth for Porsche Com" pitchFamily="34" charset="0"/>
        <a:buChar char="•"/>
        <a:defRPr sz="2158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2">
          <p15:clr>
            <a:srgbClr val="F26B43"/>
          </p15:clr>
        </p15:guide>
        <p15:guide id="2" pos="479">
          <p15:clr>
            <a:srgbClr val="F26B43"/>
          </p15:clr>
        </p15:guide>
        <p15:guide id="3" orient="horz" pos="529">
          <p15:clr>
            <a:srgbClr val="F26B43"/>
          </p15:clr>
        </p15:guide>
        <p15:guide id="4" orient="horz" pos="704">
          <p15:clr>
            <a:srgbClr val="A4A3A4"/>
          </p15:clr>
        </p15:guide>
        <p15:guide id="5" orient="horz" pos="3073">
          <p15:clr>
            <a:srgbClr val="F26B43"/>
          </p15:clr>
        </p15:guide>
        <p15:guide id="6" orient="horz" pos="2896">
          <p15:clr>
            <a:srgbClr val="A4A3A4"/>
          </p15:clr>
        </p15:guide>
        <p15:guide id="7" pos="651">
          <p15:clr>
            <a:srgbClr val="A4A3A4"/>
          </p15:clr>
        </p15:guide>
        <p15:guide id="8" pos="1438">
          <p15:clr>
            <a:srgbClr val="A4A3A4"/>
          </p15:clr>
        </p15:guide>
        <p15:guide id="9" pos="1613">
          <p15:clr>
            <a:srgbClr val="A4A3A4"/>
          </p15:clr>
        </p15:guide>
        <p15:guide id="10" pos="2397">
          <p15:clr>
            <a:srgbClr val="A4A3A4"/>
          </p15:clr>
        </p15:guide>
        <p15:guide id="11" pos="2572">
          <p15:clr>
            <a:srgbClr val="A4A3A4"/>
          </p15:clr>
        </p15:guide>
        <p15:guide id="12" pos="3356">
          <p15:clr>
            <a:srgbClr val="A4A3A4"/>
          </p15:clr>
        </p15:guide>
        <p15:guide id="13" pos="3531">
          <p15:clr>
            <a:srgbClr val="A4A3A4"/>
          </p15:clr>
        </p15:guide>
        <p15:guide id="14" pos="4315">
          <p15:clr>
            <a:srgbClr val="A4A3A4"/>
          </p15:clr>
        </p15:guide>
        <p15:guide id="15" pos="4493">
          <p15:clr>
            <a:srgbClr val="A4A3A4"/>
          </p15:clr>
        </p15:guide>
        <p15:guide id="16" pos="5277">
          <p15:clr>
            <a:srgbClr val="A4A3A4"/>
          </p15:clr>
        </p15:guide>
        <p15:guide id="17" pos="5452">
          <p15:clr>
            <a:srgbClr val="A4A3A4"/>
          </p15:clr>
        </p15:guide>
        <p15:guide id="18" pos="623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0D8ECACA-6308-4632-AE46-C883DF53B5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r="14294" b="13828"/>
          <a:stretch/>
        </p:blipFill>
        <p:spPr>
          <a:xfrm>
            <a:off x="3048" y="-5610"/>
            <a:ext cx="12188952" cy="6863610"/>
          </a:xfrm>
          <a:prstGeom prst="rect">
            <a:avLst/>
          </a:prstGeom>
        </p:spPr>
      </p:pic>
      <p:sp>
        <p:nvSpPr>
          <p:cNvPr id="3" name="AutoShape 4">
            <a:extLst>
              <a:ext uri="{FF2B5EF4-FFF2-40B4-BE49-F238E27FC236}">
                <a16:creationId xmlns:a16="http://schemas.microsoft.com/office/drawing/2014/main" id="{C915E188-AA99-472D-9C56-D1F3CE02B7F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" name="Parallelogramm 5">
            <a:extLst>
              <a:ext uri="{FF2B5EF4-FFF2-40B4-BE49-F238E27FC236}">
                <a16:creationId xmlns:a16="http://schemas.microsoft.com/office/drawing/2014/main" id="{65EA406A-DDA2-419E-9663-31C2E2EC46AA}"/>
              </a:ext>
            </a:extLst>
          </p:cNvPr>
          <p:cNvSpPr/>
          <p:nvPr/>
        </p:nvSpPr>
        <p:spPr>
          <a:xfrm>
            <a:off x="-32949" y="803987"/>
            <a:ext cx="6128950" cy="869813"/>
          </a:xfrm>
          <a:custGeom>
            <a:avLst/>
            <a:gdLst>
              <a:gd name="connsiteX0" fmla="*/ 0 w 6411625"/>
              <a:gd name="connsiteY0" fmla="*/ 1426307 h 1426307"/>
              <a:gd name="connsiteX1" fmla="*/ 356577 w 6411625"/>
              <a:gd name="connsiteY1" fmla="*/ 0 h 1426307"/>
              <a:gd name="connsiteX2" fmla="*/ 6411625 w 6411625"/>
              <a:gd name="connsiteY2" fmla="*/ 0 h 1426307"/>
              <a:gd name="connsiteX3" fmla="*/ 6055048 w 6411625"/>
              <a:gd name="connsiteY3" fmla="*/ 1426307 h 1426307"/>
              <a:gd name="connsiteX4" fmla="*/ 0 w 6411625"/>
              <a:gd name="connsiteY4" fmla="*/ 1426307 h 1426307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713302 w 6069879"/>
              <a:gd name="connsiteY3" fmla="*/ 1426307 h 1463253"/>
              <a:gd name="connsiteX4" fmla="*/ 0 w 6069879"/>
              <a:gd name="connsiteY4" fmla="*/ 1463253 h 1463253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451806 w 6069879"/>
              <a:gd name="connsiteY3" fmla="*/ 1399576 h 1463253"/>
              <a:gd name="connsiteX4" fmla="*/ 0 w 6069879"/>
              <a:gd name="connsiteY4" fmla="*/ 1463253 h 1463253"/>
              <a:gd name="connsiteX0" fmla="*/ 0 w 5875456"/>
              <a:gd name="connsiteY0" fmla="*/ 1463253 h 1463253"/>
              <a:gd name="connsiteX1" fmla="*/ 14831 w 5875456"/>
              <a:gd name="connsiteY1" fmla="*/ 0 h 1463253"/>
              <a:gd name="connsiteX2" fmla="*/ 5875456 w 5875456"/>
              <a:gd name="connsiteY2" fmla="*/ 56054 h 1463253"/>
              <a:gd name="connsiteX3" fmla="*/ 5451806 w 5875456"/>
              <a:gd name="connsiteY3" fmla="*/ 1399576 h 1463253"/>
              <a:gd name="connsiteX4" fmla="*/ 0 w 5875456"/>
              <a:gd name="connsiteY4" fmla="*/ 1463253 h 1463253"/>
              <a:gd name="connsiteX0" fmla="*/ 19023 w 5894479"/>
              <a:gd name="connsiteY0" fmla="*/ 1475182 h 1475182"/>
              <a:gd name="connsiteX1" fmla="*/ 0 w 5894479"/>
              <a:gd name="connsiteY1" fmla="*/ 0 h 1475182"/>
              <a:gd name="connsiteX2" fmla="*/ 5894479 w 5894479"/>
              <a:gd name="connsiteY2" fmla="*/ 67983 h 1475182"/>
              <a:gd name="connsiteX3" fmla="*/ 5470829 w 5894479"/>
              <a:gd name="connsiteY3" fmla="*/ 1411505 h 1475182"/>
              <a:gd name="connsiteX4" fmla="*/ 19023 w 5894479"/>
              <a:gd name="connsiteY4" fmla="*/ 1475182 h 147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4479" h="1475182">
                <a:moveTo>
                  <a:pt x="19023" y="1475182"/>
                </a:moveTo>
                <a:lnTo>
                  <a:pt x="0" y="0"/>
                </a:lnTo>
                <a:lnTo>
                  <a:pt x="5894479" y="67983"/>
                </a:lnTo>
                <a:lnTo>
                  <a:pt x="5470829" y="1411505"/>
                </a:lnTo>
                <a:lnTo>
                  <a:pt x="19023" y="1475182"/>
                </a:ln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411E89AE-B250-4B7D-9DD0-0C08CFCC110D}"/>
              </a:ext>
            </a:extLst>
          </p:cNvPr>
          <p:cNvSpPr txBox="1">
            <a:spLocks/>
          </p:cNvSpPr>
          <p:nvPr/>
        </p:nvSpPr>
        <p:spPr>
          <a:xfrm>
            <a:off x="-12283" y="811021"/>
            <a:ext cx="9806730" cy="86277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5400" b="1">
                <a:solidFill>
                  <a:srgbClr val="FFFFFF"/>
                </a:solidFill>
                <a:latin typeface="Porsche Next TT"/>
              </a:rPr>
              <a:t>R-Package „</a:t>
            </a:r>
            <a:r>
              <a:rPr lang="de-DE" sz="5400" b="1" err="1">
                <a:solidFill>
                  <a:srgbClr val="FFFFFF"/>
                </a:solidFill>
                <a:latin typeface="Porsche Next TT"/>
              </a:rPr>
              <a:t>arsenal</a:t>
            </a:r>
            <a:r>
              <a:rPr lang="de-DE" sz="5400" b="1">
                <a:solidFill>
                  <a:srgbClr val="FFFFFF"/>
                </a:solidFill>
                <a:latin typeface="Porsche Next TT"/>
              </a:rPr>
              <a:t>“</a:t>
            </a:r>
          </a:p>
        </p:txBody>
      </p:sp>
      <p:sp>
        <p:nvSpPr>
          <p:cNvPr id="8" name="Parallelogramm 5">
            <a:extLst>
              <a:ext uri="{FF2B5EF4-FFF2-40B4-BE49-F238E27FC236}">
                <a16:creationId xmlns:a16="http://schemas.microsoft.com/office/drawing/2014/main" id="{835346B4-272E-4792-8D7C-C14B23B95358}"/>
              </a:ext>
            </a:extLst>
          </p:cNvPr>
          <p:cNvSpPr/>
          <p:nvPr/>
        </p:nvSpPr>
        <p:spPr>
          <a:xfrm flipH="1">
            <a:off x="5238383" y="6384962"/>
            <a:ext cx="6989614" cy="480072"/>
          </a:xfrm>
          <a:custGeom>
            <a:avLst/>
            <a:gdLst>
              <a:gd name="connsiteX0" fmla="*/ 0 w 6411625"/>
              <a:gd name="connsiteY0" fmla="*/ 1426307 h 1426307"/>
              <a:gd name="connsiteX1" fmla="*/ 356577 w 6411625"/>
              <a:gd name="connsiteY1" fmla="*/ 0 h 1426307"/>
              <a:gd name="connsiteX2" fmla="*/ 6411625 w 6411625"/>
              <a:gd name="connsiteY2" fmla="*/ 0 h 1426307"/>
              <a:gd name="connsiteX3" fmla="*/ 6055048 w 6411625"/>
              <a:gd name="connsiteY3" fmla="*/ 1426307 h 1426307"/>
              <a:gd name="connsiteX4" fmla="*/ 0 w 6411625"/>
              <a:gd name="connsiteY4" fmla="*/ 1426307 h 1426307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713302 w 6069879"/>
              <a:gd name="connsiteY3" fmla="*/ 1426307 h 1463253"/>
              <a:gd name="connsiteX4" fmla="*/ 0 w 6069879"/>
              <a:gd name="connsiteY4" fmla="*/ 1463253 h 1463253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451806 w 6069879"/>
              <a:gd name="connsiteY3" fmla="*/ 1399576 h 1463253"/>
              <a:gd name="connsiteX4" fmla="*/ 0 w 6069879"/>
              <a:gd name="connsiteY4" fmla="*/ 1463253 h 1463253"/>
              <a:gd name="connsiteX0" fmla="*/ 0 w 5694485"/>
              <a:gd name="connsiteY0" fmla="*/ 1463253 h 1463253"/>
              <a:gd name="connsiteX1" fmla="*/ 14831 w 5694485"/>
              <a:gd name="connsiteY1" fmla="*/ 0 h 1463253"/>
              <a:gd name="connsiteX2" fmla="*/ 5694485 w 5694485"/>
              <a:gd name="connsiteY2" fmla="*/ 49212 h 1463253"/>
              <a:gd name="connsiteX3" fmla="*/ 5451806 w 5694485"/>
              <a:gd name="connsiteY3" fmla="*/ 1399576 h 1463253"/>
              <a:gd name="connsiteX4" fmla="*/ 0 w 5694485"/>
              <a:gd name="connsiteY4" fmla="*/ 1463253 h 1463253"/>
              <a:gd name="connsiteX0" fmla="*/ 118000 w 5812485"/>
              <a:gd name="connsiteY0" fmla="*/ 1414041 h 1414041"/>
              <a:gd name="connsiteX1" fmla="*/ 0 w 5812485"/>
              <a:gd name="connsiteY1" fmla="*/ 0 h 1414041"/>
              <a:gd name="connsiteX2" fmla="*/ 5812485 w 5812485"/>
              <a:gd name="connsiteY2" fmla="*/ 0 h 1414041"/>
              <a:gd name="connsiteX3" fmla="*/ 5569806 w 5812485"/>
              <a:gd name="connsiteY3" fmla="*/ 1350364 h 1414041"/>
              <a:gd name="connsiteX4" fmla="*/ 118000 w 5812485"/>
              <a:gd name="connsiteY4" fmla="*/ 1414041 h 1414041"/>
              <a:gd name="connsiteX0" fmla="*/ 882 w 5812485"/>
              <a:gd name="connsiteY0" fmla="*/ 1442799 h 1442799"/>
              <a:gd name="connsiteX1" fmla="*/ 0 w 5812485"/>
              <a:gd name="connsiteY1" fmla="*/ 0 h 1442799"/>
              <a:gd name="connsiteX2" fmla="*/ 5812485 w 5812485"/>
              <a:gd name="connsiteY2" fmla="*/ 0 h 1442799"/>
              <a:gd name="connsiteX3" fmla="*/ 5569806 w 5812485"/>
              <a:gd name="connsiteY3" fmla="*/ 1350364 h 1442799"/>
              <a:gd name="connsiteX4" fmla="*/ 882 w 5812485"/>
              <a:gd name="connsiteY4" fmla="*/ 1442799 h 1442799"/>
              <a:gd name="connsiteX0" fmla="*/ 882 w 5812485"/>
              <a:gd name="connsiteY0" fmla="*/ 1442799 h 1493415"/>
              <a:gd name="connsiteX1" fmla="*/ 0 w 5812485"/>
              <a:gd name="connsiteY1" fmla="*/ 0 h 1493415"/>
              <a:gd name="connsiteX2" fmla="*/ 5812485 w 5812485"/>
              <a:gd name="connsiteY2" fmla="*/ 0 h 1493415"/>
              <a:gd name="connsiteX3" fmla="*/ 5538070 w 5812485"/>
              <a:gd name="connsiteY3" fmla="*/ 1493415 h 1493415"/>
              <a:gd name="connsiteX4" fmla="*/ 882 w 5812485"/>
              <a:gd name="connsiteY4" fmla="*/ 1442799 h 1493415"/>
              <a:gd name="connsiteX0" fmla="*/ 0 w 5822182"/>
              <a:gd name="connsiteY0" fmla="*/ 1544977 h 1544977"/>
              <a:gd name="connsiteX1" fmla="*/ 9697 w 5822182"/>
              <a:gd name="connsiteY1" fmla="*/ 0 h 1544977"/>
              <a:gd name="connsiteX2" fmla="*/ 5822182 w 5822182"/>
              <a:gd name="connsiteY2" fmla="*/ 0 h 1544977"/>
              <a:gd name="connsiteX3" fmla="*/ 5547767 w 5822182"/>
              <a:gd name="connsiteY3" fmla="*/ 1493415 h 1544977"/>
              <a:gd name="connsiteX4" fmla="*/ 0 w 5822182"/>
              <a:gd name="connsiteY4" fmla="*/ 1544977 h 1544977"/>
              <a:gd name="connsiteX0" fmla="*/ 0 w 5822182"/>
              <a:gd name="connsiteY0" fmla="*/ 1544977 h 1544977"/>
              <a:gd name="connsiteX1" fmla="*/ 4407 w 5822182"/>
              <a:gd name="connsiteY1" fmla="*/ 20436 h 1544977"/>
              <a:gd name="connsiteX2" fmla="*/ 5822182 w 5822182"/>
              <a:gd name="connsiteY2" fmla="*/ 0 h 1544977"/>
              <a:gd name="connsiteX3" fmla="*/ 5547767 w 5822182"/>
              <a:gd name="connsiteY3" fmla="*/ 1493415 h 1544977"/>
              <a:gd name="connsiteX4" fmla="*/ 0 w 5822182"/>
              <a:gd name="connsiteY4" fmla="*/ 1544977 h 1544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22182" h="1544977">
                <a:moveTo>
                  <a:pt x="0" y="1544977"/>
                </a:moveTo>
                <a:cubicBezTo>
                  <a:pt x="3232" y="1029985"/>
                  <a:pt x="1175" y="535428"/>
                  <a:pt x="4407" y="20436"/>
                </a:cubicBezTo>
                <a:lnTo>
                  <a:pt x="5822182" y="0"/>
                </a:lnTo>
                <a:lnTo>
                  <a:pt x="5547767" y="1493415"/>
                </a:lnTo>
                <a:lnTo>
                  <a:pt x="0" y="1544977"/>
                </a:lnTo>
                <a:close/>
              </a:path>
            </a:pathLst>
          </a:custGeom>
          <a:solidFill>
            <a:schemeClr val="bg1">
              <a:lumMod val="50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de-DE" sz="2000">
                <a:solidFill>
                  <a:schemeClr val="bg1"/>
                </a:solidFill>
                <a:latin typeface="Porsche Next TT"/>
              </a:rPr>
              <a:t>Vorgestellt von: Paul Fetscher &amp; Susann Kindler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0A0CA712-25D6-4AEF-95B7-B5483C8F9FB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599" y="2035629"/>
            <a:ext cx="1545771" cy="154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7439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F7F72C-F10D-4193-B35B-5C186298F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/>
              <a:t>Quel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3C9E42B-415F-4D19-B64C-BD2BF2F560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lvl="1"/>
            <a:r>
              <a:rPr lang="de-DE" sz="1400" u="sng" dirty="0"/>
              <a:t>Bildquellen: </a:t>
            </a:r>
          </a:p>
          <a:p>
            <a:pPr lvl="2"/>
            <a:r>
              <a:rPr lang="de-DE" sz="1400" dirty="0"/>
              <a:t>Seite 4: https://cran.r-project.org/web/packages/arsenal/readme/README.html</a:t>
            </a:r>
          </a:p>
          <a:p>
            <a:pPr lvl="2"/>
            <a:r>
              <a:rPr lang="de-DE" sz="1400" dirty="0"/>
              <a:t>Seite 7: https://cran.r-project.org/web/packages/arsenal/vignettes/paired.html</a:t>
            </a:r>
          </a:p>
          <a:p>
            <a:pPr lvl="2"/>
            <a:r>
              <a:rPr lang="de-DE" sz="1400" dirty="0"/>
              <a:t>Seite 10: https://de.wikipedia.org/wiki/R_(Programmiersprache)#/media/Datei:R_logo.svg</a:t>
            </a:r>
          </a:p>
          <a:p>
            <a:pPr lvl="1"/>
            <a:r>
              <a:rPr lang="de-DE" sz="1400" u="sng" dirty="0"/>
              <a:t>Textquellen: </a:t>
            </a:r>
          </a:p>
          <a:p>
            <a:pPr lvl="2"/>
            <a:r>
              <a:rPr lang="de-DE" sz="1400" dirty="0"/>
              <a:t>https://mayoverse.github.io/arsenal/</a:t>
            </a:r>
          </a:p>
          <a:p>
            <a:pPr lvl="2"/>
            <a:r>
              <a:rPr lang="de-DE" sz="1400" dirty="0"/>
              <a:t>https://cran.r-project.org/web/packages/arsenal/arsenal.pdf</a:t>
            </a:r>
          </a:p>
          <a:p>
            <a:pPr lvl="2"/>
            <a:r>
              <a:rPr lang="de-DE" sz="1400" dirty="0"/>
              <a:t>https://www.rdocumentation.org/packages/arsenal/versions/3.5.0/topics/arsenal</a:t>
            </a:r>
          </a:p>
          <a:p>
            <a:pPr marL="1199982" lvl="2" indent="0">
              <a:buNone/>
            </a:pPr>
            <a:endParaRPr lang="de-DE" sz="1100" dirty="0"/>
          </a:p>
        </p:txBody>
      </p:sp>
      <p:pic>
        <p:nvPicPr>
          <p:cNvPr id="1026" name="Picture 2" descr="Logo">
            <a:extLst>
              <a:ext uri="{FF2B5EF4-FFF2-40B4-BE49-F238E27FC236}">
                <a16:creationId xmlns:a16="http://schemas.microsoft.com/office/drawing/2014/main" id="{5EEDA9E5-847D-4CCB-9247-6286FB1F3B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9957" y="3273502"/>
            <a:ext cx="2763802" cy="2142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22560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crush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0FF2C69D-E777-467B-8A06-7F3FEE0FAF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b="13969"/>
          <a:stretch/>
        </p:blipFill>
        <p:spPr>
          <a:xfrm>
            <a:off x="0" y="-1"/>
            <a:ext cx="12192000" cy="5874327"/>
          </a:xfrm>
          <a:prstGeom prst="rect">
            <a:avLst/>
          </a:prstGeom>
        </p:spPr>
      </p:pic>
      <p:sp>
        <p:nvSpPr>
          <p:cNvPr id="19" name="Parallelogramm 5">
            <a:extLst>
              <a:ext uri="{FF2B5EF4-FFF2-40B4-BE49-F238E27FC236}">
                <a16:creationId xmlns:a16="http://schemas.microsoft.com/office/drawing/2014/main" id="{0189E7D2-9C4A-48E5-A5C3-8CABF6EECD81}"/>
              </a:ext>
            </a:extLst>
          </p:cNvPr>
          <p:cNvSpPr/>
          <p:nvPr/>
        </p:nvSpPr>
        <p:spPr>
          <a:xfrm>
            <a:off x="-21646" y="284267"/>
            <a:ext cx="2774371" cy="862779"/>
          </a:xfrm>
          <a:custGeom>
            <a:avLst/>
            <a:gdLst>
              <a:gd name="connsiteX0" fmla="*/ 0 w 6411625"/>
              <a:gd name="connsiteY0" fmla="*/ 1426307 h 1426307"/>
              <a:gd name="connsiteX1" fmla="*/ 356577 w 6411625"/>
              <a:gd name="connsiteY1" fmla="*/ 0 h 1426307"/>
              <a:gd name="connsiteX2" fmla="*/ 6411625 w 6411625"/>
              <a:gd name="connsiteY2" fmla="*/ 0 h 1426307"/>
              <a:gd name="connsiteX3" fmla="*/ 6055048 w 6411625"/>
              <a:gd name="connsiteY3" fmla="*/ 1426307 h 1426307"/>
              <a:gd name="connsiteX4" fmla="*/ 0 w 6411625"/>
              <a:gd name="connsiteY4" fmla="*/ 1426307 h 1426307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713302 w 6069879"/>
              <a:gd name="connsiteY3" fmla="*/ 1426307 h 1463253"/>
              <a:gd name="connsiteX4" fmla="*/ 0 w 6069879"/>
              <a:gd name="connsiteY4" fmla="*/ 1463253 h 1463253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451806 w 6069879"/>
              <a:gd name="connsiteY3" fmla="*/ 1399576 h 1463253"/>
              <a:gd name="connsiteX4" fmla="*/ 0 w 6069879"/>
              <a:gd name="connsiteY4" fmla="*/ 1463253 h 1463253"/>
              <a:gd name="connsiteX0" fmla="*/ 0 w 5875456"/>
              <a:gd name="connsiteY0" fmla="*/ 1463253 h 1463253"/>
              <a:gd name="connsiteX1" fmla="*/ 14831 w 5875456"/>
              <a:gd name="connsiteY1" fmla="*/ 0 h 1463253"/>
              <a:gd name="connsiteX2" fmla="*/ 5875456 w 5875456"/>
              <a:gd name="connsiteY2" fmla="*/ 56054 h 1463253"/>
              <a:gd name="connsiteX3" fmla="*/ 5451806 w 5875456"/>
              <a:gd name="connsiteY3" fmla="*/ 1399576 h 1463253"/>
              <a:gd name="connsiteX4" fmla="*/ 0 w 5875456"/>
              <a:gd name="connsiteY4" fmla="*/ 1463253 h 1463253"/>
              <a:gd name="connsiteX0" fmla="*/ 0 w 6260554"/>
              <a:gd name="connsiteY0" fmla="*/ 1463253 h 1463253"/>
              <a:gd name="connsiteX1" fmla="*/ 14831 w 6260554"/>
              <a:gd name="connsiteY1" fmla="*/ 0 h 1463253"/>
              <a:gd name="connsiteX2" fmla="*/ 6260554 w 6260554"/>
              <a:gd name="connsiteY2" fmla="*/ 56054 h 1463253"/>
              <a:gd name="connsiteX3" fmla="*/ 5451806 w 6260554"/>
              <a:gd name="connsiteY3" fmla="*/ 1399576 h 1463253"/>
              <a:gd name="connsiteX4" fmla="*/ 0 w 6260554"/>
              <a:gd name="connsiteY4" fmla="*/ 1463253 h 1463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0554" h="1463253">
                <a:moveTo>
                  <a:pt x="0" y="1463253"/>
                </a:moveTo>
                <a:lnTo>
                  <a:pt x="14831" y="0"/>
                </a:lnTo>
                <a:lnTo>
                  <a:pt x="6260554" y="56054"/>
                </a:lnTo>
                <a:lnTo>
                  <a:pt x="5451806" y="1399576"/>
                </a:lnTo>
                <a:lnTo>
                  <a:pt x="0" y="1463253"/>
                </a:ln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84683A0-7E90-4EDB-8CC0-E2D173C04A8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/>
              <a:t>Funktionen/Befeh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E4D029-ACB6-423C-9301-C6322679CA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/>
              <a:t>Beispi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72D4E92-F867-4332-9E13-229FFDA0D32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/>
              <a:t>Einführu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AB5CE81-0B81-412D-9EE2-0AAF31B211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Eine Übersicht der Eckda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AC21A34-04C2-445A-BCD0-A54E13E005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C1A88D5-E006-4978-9E5A-A2D89F21ED9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537D6-C76E-4368-9CB0-60CBB2DDFBB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BF5389A-3920-45E0-A3F6-AD561F72BF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89282" y="3090547"/>
            <a:ext cx="3463910" cy="332079"/>
          </a:xfrm>
        </p:spPr>
        <p:txBody>
          <a:bodyPr/>
          <a:lstStyle/>
          <a:p>
            <a:r>
              <a:rPr lang="de-DE"/>
              <a:t>Code zum Selbsterleb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0E179F5-F492-4ED4-A454-532B327DCF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24158" y="2115483"/>
            <a:ext cx="3789487" cy="332079"/>
          </a:xfrm>
        </p:spPr>
        <p:txBody>
          <a:bodyPr/>
          <a:lstStyle/>
          <a:p>
            <a:r>
              <a:rPr lang="de-DE"/>
              <a:t>Welche Features?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9A98AEB6-FC18-41CB-B4AB-DFB720E33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8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8335823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4000">
        <p15:prstTrans prst="curtains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0FF2C69D-E777-467B-8A06-7F3FEE0FAF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b="13969"/>
          <a:stretch/>
        </p:blipFill>
        <p:spPr>
          <a:xfrm>
            <a:off x="0" y="-1"/>
            <a:ext cx="12192000" cy="5874327"/>
          </a:xfrm>
          <a:prstGeom prst="rect">
            <a:avLst/>
          </a:prstGeom>
        </p:spPr>
      </p:pic>
      <p:sp>
        <p:nvSpPr>
          <p:cNvPr id="19" name="Parallelogramm 5">
            <a:extLst>
              <a:ext uri="{FF2B5EF4-FFF2-40B4-BE49-F238E27FC236}">
                <a16:creationId xmlns:a16="http://schemas.microsoft.com/office/drawing/2014/main" id="{0189E7D2-9C4A-48E5-A5C3-8CABF6EECD81}"/>
              </a:ext>
            </a:extLst>
          </p:cNvPr>
          <p:cNvSpPr/>
          <p:nvPr/>
        </p:nvSpPr>
        <p:spPr>
          <a:xfrm>
            <a:off x="-21646" y="284267"/>
            <a:ext cx="2774371" cy="862779"/>
          </a:xfrm>
          <a:custGeom>
            <a:avLst/>
            <a:gdLst>
              <a:gd name="connsiteX0" fmla="*/ 0 w 6411625"/>
              <a:gd name="connsiteY0" fmla="*/ 1426307 h 1426307"/>
              <a:gd name="connsiteX1" fmla="*/ 356577 w 6411625"/>
              <a:gd name="connsiteY1" fmla="*/ 0 h 1426307"/>
              <a:gd name="connsiteX2" fmla="*/ 6411625 w 6411625"/>
              <a:gd name="connsiteY2" fmla="*/ 0 h 1426307"/>
              <a:gd name="connsiteX3" fmla="*/ 6055048 w 6411625"/>
              <a:gd name="connsiteY3" fmla="*/ 1426307 h 1426307"/>
              <a:gd name="connsiteX4" fmla="*/ 0 w 6411625"/>
              <a:gd name="connsiteY4" fmla="*/ 1426307 h 1426307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713302 w 6069879"/>
              <a:gd name="connsiteY3" fmla="*/ 1426307 h 1463253"/>
              <a:gd name="connsiteX4" fmla="*/ 0 w 6069879"/>
              <a:gd name="connsiteY4" fmla="*/ 1463253 h 1463253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451806 w 6069879"/>
              <a:gd name="connsiteY3" fmla="*/ 1399576 h 1463253"/>
              <a:gd name="connsiteX4" fmla="*/ 0 w 6069879"/>
              <a:gd name="connsiteY4" fmla="*/ 1463253 h 1463253"/>
              <a:gd name="connsiteX0" fmla="*/ 0 w 5875456"/>
              <a:gd name="connsiteY0" fmla="*/ 1463253 h 1463253"/>
              <a:gd name="connsiteX1" fmla="*/ 14831 w 5875456"/>
              <a:gd name="connsiteY1" fmla="*/ 0 h 1463253"/>
              <a:gd name="connsiteX2" fmla="*/ 5875456 w 5875456"/>
              <a:gd name="connsiteY2" fmla="*/ 56054 h 1463253"/>
              <a:gd name="connsiteX3" fmla="*/ 5451806 w 5875456"/>
              <a:gd name="connsiteY3" fmla="*/ 1399576 h 1463253"/>
              <a:gd name="connsiteX4" fmla="*/ 0 w 5875456"/>
              <a:gd name="connsiteY4" fmla="*/ 1463253 h 1463253"/>
              <a:gd name="connsiteX0" fmla="*/ 0 w 6260554"/>
              <a:gd name="connsiteY0" fmla="*/ 1463253 h 1463253"/>
              <a:gd name="connsiteX1" fmla="*/ 14831 w 6260554"/>
              <a:gd name="connsiteY1" fmla="*/ 0 h 1463253"/>
              <a:gd name="connsiteX2" fmla="*/ 6260554 w 6260554"/>
              <a:gd name="connsiteY2" fmla="*/ 56054 h 1463253"/>
              <a:gd name="connsiteX3" fmla="*/ 5451806 w 6260554"/>
              <a:gd name="connsiteY3" fmla="*/ 1399576 h 1463253"/>
              <a:gd name="connsiteX4" fmla="*/ 0 w 6260554"/>
              <a:gd name="connsiteY4" fmla="*/ 1463253 h 1463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0554" h="1463253">
                <a:moveTo>
                  <a:pt x="0" y="1463253"/>
                </a:moveTo>
                <a:lnTo>
                  <a:pt x="14831" y="0"/>
                </a:lnTo>
                <a:lnTo>
                  <a:pt x="6260554" y="56054"/>
                </a:lnTo>
                <a:lnTo>
                  <a:pt x="5451806" y="1399576"/>
                </a:lnTo>
                <a:lnTo>
                  <a:pt x="0" y="1463253"/>
                </a:ln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84683A0-7E90-4EDB-8CC0-E2D173C04A8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/>
              <a:t>Funktionen/Befeh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E4D029-ACB6-423C-9301-C6322679CA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/>
              <a:t>Beispie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72D4E92-F867-4332-9E13-229FFDA0D32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988160" y="687589"/>
            <a:ext cx="5221649" cy="918913"/>
          </a:xfrm>
          <a:solidFill>
            <a:schemeClr val="accent5">
              <a:alpha val="35000"/>
            </a:schemeClr>
          </a:solidFill>
        </p:spPr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Einführu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AB5CE81-0B81-412D-9EE2-0AAF31B211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Eine Übersicht der Eckda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AC21A34-04C2-445A-BCD0-A54E13E005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C1A88D5-E006-4978-9E5A-A2D89F21ED9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537D6-C76E-4368-9CB0-60CBB2DDFBB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/>
              <a:t>3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BF5389A-3920-45E0-A3F6-AD561F72BF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89282" y="3090547"/>
            <a:ext cx="3463910" cy="332079"/>
          </a:xfrm>
        </p:spPr>
        <p:txBody>
          <a:bodyPr/>
          <a:lstStyle/>
          <a:p>
            <a:r>
              <a:rPr lang="de-DE"/>
              <a:t>Code zum Selbsterleb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0E179F5-F492-4ED4-A454-532B327DCF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24158" y="2115483"/>
            <a:ext cx="3789487" cy="332079"/>
          </a:xfrm>
        </p:spPr>
        <p:txBody>
          <a:bodyPr/>
          <a:lstStyle/>
          <a:p>
            <a:r>
              <a:rPr lang="de-DE"/>
              <a:t>Welche Features?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9A98AEB6-FC18-41CB-B4AB-DFB720E33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8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76527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14:flythrough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2B6215-6116-4978-81D9-C9C505E109C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23797" y="1525795"/>
            <a:ext cx="6551374" cy="4162820"/>
          </a:xfrm>
        </p:spPr>
        <p:txBody>
          <a:bodyPr lIns="0" tIns="0" rIns="0" bIns="0" anchor="t">
            <a:noAutofit/>
          </a:bodyPr>
          <a:lstStyle/>
          <a:p>
            <a:pPr marL="0" indent="0">
              <a:buNone/>
            </a:pPr>
            <a:r>
              <a:rPr lang="de-DE" sz="1600"/>
              <a:t>Tool zum übersichtlichen Zusammenfassen statistischer Daten</a:t>
            </a:r>
          </a:p>
          <a:p>
            <a:pPr marL="0" indent="0">
              <a:buNone/>
            </a:pPr>
            <a:r>
              <a:rPr lang="de-DE" sz="1600"/>
              <a:t>kompatibel mit R und R Studio </a:t>
            </a:r>
          </a:p>
          <a:p>
            <a:pPr marL="0" indent="0">
              <a:buNone/>
            </a:pPr>
            <a:r>
              <a:rPr lang="de-DE" sz="1600"/>
              <a:t>benötigt die Packages </a:t>
            </a:r>
            <a:r>
              <a:rPr lang="de-DE" sz="1600" err="1"/>
              <a:t>knitr</a:t>
            </a:r>
            <a:r>
              <a:rPr lang="de-DE" sz="1600"/>
              <a:t> und </a:t>
            </a:r>
            <a:r>
              <a:rPr lang="de-DE" sz="1600" err="1"/>
              <a:t>utils</a:t>
            </a:r>
            <a:r>
              <a:rPr lang="de-DE" sz="1600"/>
              <a:t> </a:t>
            </a:r>
          </a:p>
          <a:p>
            <a:pPr marL="0" indent="0">
              <a:buNone/>
            </a:pPr>
            <a:r>
              <a:rPr lang="de-DE" sz="1600"/>
              <a:t>verfügbar auf CRAN </a:t>
            </a:r>
          </a:p>
          <a:p>
            <a:pPr marL="0" indent="0">
              <a:buNone/>
            </a:pPr>
            <a:r>
              <a:rPr lang="de-DE" sz="1600"/>
              <a:t>erste Version vom 30. Dezember 2016</a:t>
            </a:r>
          </a:p>
          <a:p>
            <a:pPr marL="0" indent="0">
              <a:buNone/>
            </a:pPr>
            <a:r>
              <a:rPr lang="de-DE" sz="1600"/>
              <a:t>aktuelle Version 3.6.2, Release 17.02.2021 </a:t>
            </a:r>
          </a:p>
          <a:p>
            <a:pPr marL="0" indent="0">
              <a:buNone/>
            </a:pPr>
            <a:r>
              <a:rPr lang="de-DE" sz="1600"/>
              <a:t>Team von 12 Personen, mittlerweile nur noch ein </a:t>
            </a:r>
            <a:r>
              <a:rPr lang="de-DE" sz="1600" err="1"/>
              <a:t>Maintainer</a:t>
            </a:r>
            <a:r>
              <a:rPr lang="de-DE" sz="1600"/>
              <a:t> Ethan Heinzen</a:t>
            </a:r>
          </a:p>
          <a:p>
            <a:pPr marL="0" indent="0">
              <a:buNone/>
            </a:pPr>
            <a:r>
              <a:rPr lang="de-DE" sz="1600"/>
              <a:t>insgesamte Downloadanzahl bei ca. 39.234 (</a:t>
            </a:r>
            <a:r>
              <a:rPr lang="de-DE" sz="1600">
                <a:ea typeface="+mn-lt"/>
                <a:cs typeface="+mn-lt"/>
              </a:rPr>
              <a:t>The R Journal Vol. 11/2, Dezember 2019)</a:t>
            </a:r>
          </a:p>
          <a:p>
            <a:pPr marL="0" indent="0">
              <a:buNone/>
            </a:pPr>
            <a:endParaRPr lang="de-DE" sz="1400"/>
          </a:p>
          <a:p>
            <a:pPr marL="0" indent="0">
              <a:buNone/>
            </a:pPr>
            <a:endParaRPr lang="de-DE" sz="140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757FC02-BCB7-400B-A0CD-F7F0A30A2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de-DE" sz="2850"/>
              <a:t>Einführung </a:t>
            </a:r>
            <a:endParaRPr lang="de-DE"/>
          </a:p>
        </p:txBody>
      </p:sp>
      <p:pic>
        <p:nvPicPr>
          <p:cNvPr id="9" name="Grafik 9" descr="Ein Bild, das Text, Schild enthält.&#10;&#10;Beschreibung automatisch generiert.">
            <a:extLst>
              <a:ext uri="{FF2B5EF4-FFF2-40B4-BE49-F238E27FC236}">
                <a16:creationId xmlns:a16="http://schemas.microsoft.com/office/drawing/2014/main" id="{55796875-8F4A-4BBA-83A2-D363A5DA8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24517" y="1423852"/>
            <a:ext cx="3076417" cy="3563537"/>
          </a:xfrm>
          <a:prstGeom prst="rect">
            <a:avLst/>
          </a:prstGeom>
        </p:spPr>
      </p:pic>
      <p:pic>
        <p:nvPicPr>
          <p:cNvPr id="2" name="Grafik 4">
            <a:extLst>
              <a:ext uri="{FF2B5EF4-FFF2-40B4-BE49-F238E27FC236}">
                <a16:creationId xmlns:a16="http://schemas.microsoft.com/office/drawing/2014/main" id="{D7054CDC-02B0-44BE-9FED-46795B3129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3400" y="1860770"/>
            <a:ext cx="349527" cy="278959"/>
          </a:xfrm>
          <a:prstGeom prst="rect">
            <a:avLst/>
          </a:prstGeom>
        </p:spPr>
      </p:pic>
      <p:pic>
        <p:nvPicPr>
          <p:cNvPr id="5" name="Grafik 5">
            <a:extLst>
              <a:ext uri="{FF2B5EF4-FFF2-40B4-BE49-F238E27FC236}">
                <a16:creationId xmlns:a16="http://schemas.microsoft.com/office/drawing/2014/main" id="{CDDF57C4-AD43-40B4-B364-908739BCB5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6313" y="1887694"/>
            <a:ext cx="664265" cy="24995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B388B4D-FFAA-4C55-AAC6-3FB8819E8A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73" y="1929529"/>
            <a:ext cx="224431" cy="16628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113AEE5-EF2B-4403-80B6-6FFEC0E0AE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73" y="2306047"/>
            <a:ext cx="224431" cy="16628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155F5B4D-C1AE-4C8A-BC89-36D973E173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72" y="2673272"/>
            <a:ext cx="224431" cy="16628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4CA748C-54FE-4E66-95FF-2F5B251299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71" y="1562304"/>
            <a:ext cx="224431" cy="16628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5115FCB-5918-46C8-A5CC-7FBC242337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72" y="3039333"/>
            <a:ext cx="224431" cy="16628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7EF20405-E955-48BB-95E0-4634E82F7C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71" y="3388341"/>
            <a:ext cx="224431" cy="16628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EC3EC195-3B82-4562-A2FC-A5C597BEC9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74" y="3737349"/>
            <a:ext cx="224431" cy="16628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0E8F3AA7-55B1-468D-9941-8521A497B6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671" y="4094116"/>
            <a:ext cx="224431" cy="166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967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0FF2C69D-E777-467B-8A06-7F3FEE0FAF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b="13969"/>
          <a:stretch/>
        </p:blipFill>
        <p:spPr>
          <a:xfrm>
            <a:off x="0" y="-1"/>
            <a:ext cx="12192000" cy="5874327"/>
          </a:xfrm>
          <a:prstGeom prst="rect">
            <a:avLst/>
          </a:prstGeom>
        </p:spPr>
      </p:pic>
      <p:sp>
        <p:nvSpPr>
          <p:cNvPr id="19" name="Parallelogramm 5">
            <a:extLst>
              <a:ext uri="{FF2B5EF4-FFF2-40B4-BE49-F238E27FC236}">
                <a16:creationId xmlns:a16="http://schemas.microsoft.com/office/drawing/2014/main" id="{0189E7D2-9C4A-48E5-A5C3-8CABF6EECD81}"/>
              </a:ext>
            </a:extLst>
          </p:cNvPr>
          <p:cNvSpPr/>
          <p:nvPr/>
        </p:nvSpPr>
        <p:spPr>
          <a:xfrm>
            <a:off x="-21646" y="284267"/>
            <a:ext cx="2774371" cy="862779"/>
          </a:xfrm>
          <a:custGeom>
            <a:avLst/>
            <a:gdLst>
              <a:gd name="connsiteX0" fmla="*/ 0 w 6411625"/>
              <a:gd name="connsiteY0" fmla="*/ 1426307 h 1426307"/>
              <a:gd name="connsiteX1" fmla="*/ 356577 w 6411625"/>
              <a:gd name="connsiteY1" fmla="*/ 0 h 1426307"/>
              <a:gd name="connsiteX2" fmla="*/ 6411625 w 6411625"/>
              <a:gd name="connsiteY2" fmla="*/ 0 h 1426307"/>
              <a:gd name="connsiteX3" fmla="*/ 6055048 w 6411625"/>
              <a:gd name="connsiteY3" fmla="*/ 1426307 h 1426307"/>
              <a:gd name="connsiteX4" fmla="*/ 0 w 6411625"/>
              <a:gd name="connsiteY4" fmla="*/ 1426307 h 1426307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713302 w 6069879"/>
              <a:gd name="connsiteY3" fmla="*/ 1426307 h 1463253"/>
              <a:gd name="connsiteX4" fmla="*/ 0 w 6069879"/>
              <a:gd name="connsiteY4" fmla="*/ 1463253 h 1463253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451806 w 6069879"/>
              <a:gd name="connsiteY3" fmla="*/ 1399576 h 1463253"/>
              <a:gd name="connsiteX4" fmla="*/ 0 w 6069879"/>
              <a:gd name="connsiteY4" fmla="*/ 1463253 h 1463253"/>
              <a:gd name="connsiteX0" fmla="*/ 0 w 5875456"/>
              <a:gd name="connsiteY0" fmla="*/ 1463253 h 1463253"/>
              <a:gd name="connsiteX1" fmla="*/ 14831 w 5875456"/>
              <a:gd name="connsiteY1" fmla="*/ 0 h 1463253"/>
              <a:gd name="connsiteX2" fmla="*/ 5875456 w 5875456"/>
              <a:gd name="connsiteY2" fmla="*/ 56054 h 1463253"/>
              <a:gd name="connsiteX3" fmla="*/ 5451806 w 5875456"/>
              <a:gd name="connsiteY3" fmla="*/ 1399576 h 1463253"/>
              <a:gd name="connsiteX4" fmla="*/ 0 w 5875456"/>
              <a:gd name="connsiteY4" fmla="*/ 1463253 h 1463253"/>
              <a:gd name="connsiteX0" fmla="*/ 0 w 6260554"/>
              <a:gd name="connsiteY0" fmla="*/ 1463253 h 1463253"/>
              <a:gd name="connsiteX1" fmla="*/ 14831 w 6260554"/>
              <a:gd name="connsiteY1" fmla="*/ 0 h 1463253"/>
              <a:gd name="connsiteX2" fmla="*/ 6260554 w 6260554"/>
              <a:gd name="connsiteY2" fmla="*/ 56054 h 1463253"/>
              <a:gd name="connsiteX3" fmla="*/ 5451806 w 6260554"/>
              <a:gd name="connsiteY3" fmla="*/ 1399576 h 1463253"/>
              <a:gd name="connsiteX4" fmla="*/ 0 w 6260554"/>
              <a:gd name="connsiteY4" fmla="*/ 1463253 h 1463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0554" h="1463253">
                <a:moveTo>
                  <a:pt x="0" y="1463253"/>
                </a:moveTo>
                <a:lnTo>
                  <a:pt x="14831" y="0"/>
                </a:lnTo>
                <a:lnTo>
                  <a:pt x="6260554" y="56054"/>
                </a:lnTo>
                <a:lnTo>
                  <a:pt x="5451806" y="1399576"/>
                </a:lnTo>
                <a:lnTo>
                  <a:pt x="0" y="1463253"/>
                </a:ln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84683A0-7E90-4EDB-8CC0-E2D173C04A8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solidFill>
            <a:schemeClr val="bg1">
              <a:alpha val="35000"/>
            </a:schemeClr>
          </a:solidFill>
        </p:spPr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Funktionen/Befeh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E4D029-ACB6-423C-9301-C6322679CA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chemeClr val="tx1">
              <a:alpha val="35000"/>
            </a:schemeClr>
          </a:solidFill>
        </p:spPr>
        <p:txBody>
          <a:bodyPr/>
          <a:lstStyle/>
          <a:p>
            <a:r>
              <a:rPr lang="de-DE"/>
              <a:t>Beispiel</a:t>
            </a:r>
          </a:p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72D4E92-F867-4332-9E13-229FFDA0D32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/>
              <a:t>Einführu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AB5CE81-0B81-412D-9EE2-0AAF31B211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Eine Übersicht der Eckda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AC21A34-04C2-445A-BCD0-A54E13E005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C1A88D5-E006-4978-9E5A-A2D89F21ED9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537D6-C76E-4368-9CB0-60CBB2DDFBB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85000"/>
                  </a:schemeClr>
                </a:solidFill>
              </a:rPr>
              <a:t>3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BF5389A-3920-45E0-A3F6-AD561F72BF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89282" y="3090547"/>
            <a:ext cx="3463910" cy="664156"/>
          </a:xfrm>
        </p:spPr>
        <p:txBody>
          <a:bodyPr/>
          <a:lstStyle/>
          <a:p>
            <a:r>
              <a:rPr lang="de-DE"/>
              <a:t>Code zum Selbsterleben</a:t>
            </a:r>
          </a:p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0E179F5-F492-4ED4-A454-532B327DCF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24158" y="2115483"/>
            <a:ext cx="3789487" cy="332079"/>
          </a:xfrm>
        </p:spPr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Welche Features?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9A98AEB6-FC18-41CB-B4AB-DFB720E33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8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0117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14:flythrough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159A789-6243-47D4-9285-3590876BB1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19300" y="1212896"/>
            <a:ext cx="7752351" cy="4253928"/>
          </a:xfrm>
        </p:spPr>
        <p:txBody>
          <a:bodyPr lIns="0" tIns="0" rIns="0" bIns="0" anchor="t">
            <a:noAutofit/>
          </a:bodyPr>
          <a:lstStyle/>
          <a:p>
            <a:pPr marL="285750" indent="-285750">
              <a:buFont typeface="Arial"/>
              <a:buChar char="•"/>
            </a:pPr>
            <a:endParaRPr lang="de-DE" sz="1600"/>
          </a:p>
          <a:p>
            <a:pPr marL="0" indent="0">
              <a:buClr>
                <a:srgbClr val="000000"/>
              </a:buClr>
              <a:buNone/>
            </a:pPr>
            <a:r>
              <a:rPr lang="de-DE" sz="1800" u="sng"/>
              <a:t>Meistverwendete Funktionen:</a:t>
            </a:r>
          </a:p>
          <a:p>
            <a:pPr marL="0" indent="0">
              <a:buClr>
                <a:srgbClr val="000000"/>
              </a:buClr>
              <a:buNone/>
            </a:pPr>
            <a:r>
              <a:rPr lang="de-DE" sz="1600" err="1"/>
              <a:t>tableby</a:t>
            </a:r>
            <a:r>
              <a:rPr lang="de-DE" sz="1600"/>
              <a:t>: statistische Zusammenfassung von unabhängigen Datensätzen die in Kategorien eingeteilt werden können (Geschlecht, Automarken, etc.)</a:t>
            </a:r>
          </a:p>
          <a:p>
            <a:pPr marL="0" indent="0">
              <a:buClr>
                <a:srgbClr val="000000"/>
              </a:buClr>
              <a:buNone/>
            </a:pPr>
            <a:endParaRPr lang="de-DE" sz="1600"/>
          </a:p>
          <a:p>
            <a:pPr marL="0" indent="0">
              <a:buClr>
                <a:srgbClr val="000000"/>
              </a:buClr>
              <a:buNone/>
            </a:pPr>
            <a:endParaRPr lang="de-DE" sz="1600"/>
          </a:p>
          <a:p>
            <a:pPr marL="0" indent="0">
              <a:buClr>
                <a:srgbClr val="000000"/>
              </a:buClr>
              <a:buNone/>
            </a:pPr>
            <a:endParaRPr lang="de-DE" sz="1600"/>
          </a:p>
          <a:p>
            <a:pPr marL="0" indent="0">
              <a:buClr>
                <a:srgbClr val="000000"/>
              </a:buClr>
              <a:buNone/>
            </a:pPr>
            <a:endParaRPr lang="de-DE" sz="1600"/>
          </a:p>
          <a:p>
            <a:pPr marL="0" indent="0">
              <a:buClr>
                <a:srgbClr val="000000"/>
              </a:buClr>
              <a:buNone/>
            </a:pPr>
            <a:endParaRPr lang="de-DE" sz="1600"/>
          </a:p>
          <a:p>
            <a:pPr marL="285750" indent="-285750">
              <a:buClr>
                <a:srgbClr val="000000"/>
              </a:buClr>
              <a:buFont typeface="Arial"/>
              <a:buChar char="•"/>
            </a:pPr>
            <a:endParaRPr lang="de-DE" sz="140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D2EE9FA-B068-49F4-8611-53A203619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de-DE" sz="2850"/>
              <a:t>Funktionen und Befehle </a:t>
            </a:r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BA869C3-1B8B-429F-A44C-19B10D17DD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679" y="2022644"/>
            <a:ext cx="224431" cy="16628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B640844-D7F2-416A-8530-810BDA17F99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3152920" y="2908168"/>
            <a:ext cx="6634547" cy="229967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912890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159A789-6243-47D4-9285-3590876BB1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19300" y="2387600"/>
            <a:ext cx="4776700" cy="3019957"/>
          </a:xfrm>
        </p:spPr>
        <p:txBody>
          <a:bodyPr lIns="0" tIns="0" rIns="0" bIns="0" anchor="t">
            <a:noAutofit/>
          </a:bodyPr>
          <a:lstStyle/>
          <a:p>
            <a:pPr marL="285750" indent="-285750">
              <a:buFont typeface="Arial"/>
              <a:buChar char="•"/>
            </a:pPr>
            <a:endParaRPr lang="de-DE" sz="1600"/>
          </a:p>
          <a:p>
            <a:pPr marL="0" indent="0">
              <a:buClr>
                <a:srgbClr val="000000"/>
              </a:buClr>
              <a:buNone/>
            </a:pPr>
            <a:r>
              <a:rPr lang="de-DE" sz="1800" u="sng"/>
              <a:t>Meistverwendete Funktionen:</a:t>
            </a:r>
          </a:p>
          <a:p>
            <a:pPr marL="0" indent="0">
              <a:buClr>
                <a:srgbClr val="000000"/>
              </a:buClr>
              <a:buNone/>
            </a:pPr>
            <a:r>
              <a:rPr lang="de-DE" sz="1600" err="1"/>
              <a:t>paired</a:t>
            </a:r>
            <a:r>
              <a:rPr lang="de-DE" sz="1600"/>
              <a:t>: statistische Zusammenfassung von unabhängigen Datensätzen die in verschiedene Zeitpunkte eingeteilt werden können (damals, heute, etc.)</a:t>
            </a:r>
          </a:p>
          <a:p>
            <a:pPr marL="0" indent="0">
              <a:buClr>
                <a:srgbClr val="000000"/>
              </a:buClr>
              <a:buNone/>
            </a:pPr>
            <a:endParaRPr lang="de-DE" sz="1800" u="sng"/>
          </a:p>
          <a:p>
            <a:pPr marL="285750" indent="-285750">
              <a:buClr>
                <a:srgbClr val="000000"/>
              </a:buClr>
              <a:buFont typeface="Arial"/>
              <a:buChar char="•"/>
            </a:pPr>
            <a:endParaRPr lang="de-DE" sz="140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D2EE9FA-B068-49F4-8611-53A203619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de-DE" sz="2850"/>
              <a:t>Funktionen und Befehle 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E9DA157-5CD1-4072-AF3D-A27434C919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8527" y="1103241"/>
            <a:ext cx="4644795" cy="4651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EE882D7-C9A6-49CC-82ED-5D1E2AC6FA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029" y="3214957"/>
            <a:ext cx="224431" cy="166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91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159A789-6243-47D4-9285-3590876BB1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19300" y="1212896"/>
            <a:ext cx="4581967" cy="4253928"/>
          </a:xfrm>
        </p:spPr>
        <p:txBody>
          <a:bodyPr lIns="0" tIns="0" rIns="0" bIns="0" anchor="t">
            <a:noAutofit/>
          </a:bodyPr>
          <a:lstStyle/>
          <a:p>
            <a:pPr marL="285750" indent="-285750">
              <a:buFont typeface="Arial"/>
              <a:buChar char="•"/>
            </a:pPr>
            <a:endParaRPr lang="de-DE" sz="1600"/>
          </a:p>
          <a:p>
            <a:pPr marL="0" indent="0">
              <a:buClr>
                <a:srgbClr val="000000"/>
              </a:buClr>
              <a:buNone/>
            </a:pPr>
            <a:r>
              <a:rPr lang="de-DE" sz="1800" u="sng"/>
              <a:t>Meistverwendete Funktionen:</a:t>
            </a:r>
          </a:p>
          <a:p>
            <a:pPr marL="0" indent="0">
              <a:buClr>
                <a:srgbClr val="000000"/>
              </a:buClr>
              <a:buNone/>
            </a:pPr>
            <a:r>
              <a:rPr lang="de-DE" sz="1600" err="1"/>
              <a:t>comparedf</a:t>
            </a:r>
            <a:r>
              <a:rPr lang="de-DE" sz="1600"/>
              <a:t>: zwei Datensätze miteinander vergleichen </a:t>
            </a:r>
            <a:br>
              <a:rPr lang="de-DE" sz="1600"/>
            </a:br>
            <a:r>
              <a:rPr lang="de-DE" sz="1600"/>
              <a:t>und Unterschiede aufzeigen</a:t>
            </a:r>
          </a:p>
          <a:p>
            <a:pPr marL="0" indent="0">
              <a:buClr>
                <a:srgbClr val="000000"/>
              </a:buClr>
              <a:buNone/>
            </a:pPr>
            <a:r>
              <a:rPr lang="de-DE" sz="1600"/>
              <a:t>write2(</a:t>
            </a:r>
            <a:r>
              <a:rPr lang="de-DE" sz="1600" err="1"/>
              <a:t>word</a:t>
            </a:r>
            <a:r>
              <a:rPr lang="de-DE" sz="1600"/>
              <a:t>, </a:t>
            </a:r>
            <a:r>
              <a:rPr lang="de-DE" sz="1600" err="1"/>
              <a:t>pdf</a:t>
            </a:r>
            <a:r>
              <a:rPr lang="de-DE" sz="1600"/>
              <a:t>, </a:t>
            </a:r>
            <a:r>
              <a:rPr lang="de-DE" sz="1600" err="1"/>
              <a:t>html</a:t>
            </a:r>
            <a:r>
              <a:rPr lang="de-DE" sz="1600"/>
              <a:t>): Funktion um Datensätze in Dokumenten auszugeben</a:t>
            </a:r>
          </a:p>
          <a:p>
            <a:pPr marL="0" indent="0">
              <a:buClr>
                <a:srgbClr val="000000"/>
              </a:buClr>
              <a:buNone/>
            </a:pPr>
            <a:r>
              <a:rPr lang="de-DE" sz="1600"/>
              <a:t>und viele weitere...</a:t>
            </a:r>
          </a:p>
          <a:p>
            <a:pPr marL="285750" indent="-285750">
              <a:buClr>
                <a:srgbClr val="000000"/>
              </a:buClr>
              <a:buFont typeface="Arial"/>
              <a:buChar char="•"/>
            </a:pPr>
            <a:endParaRPr lang="de-DE" sz="140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D2EE9FA-B068-49F4-8611-53A2036195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de-DE" sz="2850"/>
              <a:t>Funktionen und Befehle 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10D9773-0C1B-4C27-825A-9CBFBB320D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0735" y="1472383"/>
            <a:ext cx="5353911" cy="41240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E9CD21-870C-4138-BAD7-AD34DA0737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029" y="2046557"/>
            <a:ext cx="224431" cy="16628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05A52AE-FAB4-47FA-9B6E-A13B4345FD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029" y="2639223"/>
            <a:ext cx="224431" cy="16628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E54AB1C-97DC-4390-8712-E5111C9580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028" y="3256716"/>
            <a:ext cx="224431" cy="166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5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flythrough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0FF2C69D-E777-467B-8A06-7F3FEE0FAF7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" b="13969"/>
          <a:stretch/>
        </p:blipFill>
        <p:spPr>
          <a:xfrm>
            <a:off x="0" y="-1"/>
            <a:ext cx="12192000" cy="5874327"/>
          </a:xfrm>
          <a:prstGeom prst="rect">
            <a:avLst/>
          </a:prstGeom>
        </p:spPr>
      </p:pic>
      <p:sp>
        <p:nvSpPr>
          <p:cNvPr id="19" name="Parallelogramm 5">
            <a:extLst>
              <a:ext uri="{FF2B5EF4-FFF2-40B4-BE49-F238E27FC236}">
                <a16:creationId xmlns:a16="http://schemas.microsoft.com/office/drawing/2014/main" id="{0189E7D2-9C4A-48E5-A5C3-8CABF6EECD81}"/>
              </a:ext>
            </a:extLst>
          </p:cNvPr>
          <p:cNvSpPr/>
          <p:nvPr/>
        </p:nvSpPr>
        <p:spPr>
          <a:xfrm>
            <a:off x="-21646" y="284267"/>
            <a:ext cx="2774371" cy="862779"/>
          </a:xfrm>
          <a:custGeom>
            <a:avLst/>
            <a:gdLst>
              <a:gd name="connsiteX0" fmla="*/ 0 w 6411625"/>
              <a:gd name="connsiteY0" fmla="*/ 1426307 h 1426307"/>
              <a:gd name="connsiteX1" fmla="*/ 356577 w 6411625"/>
              <a:gd name="connsiteY1" fmla="*/ 0 h 1426307"/>
              <a:gd name="connsiteX2" fmla="*/ 6411625 w 6411625"/>
              <a:gd name="connsiteY2" fmla="*/ 0 h 1426307"/>
              <a:gd name="connsiteX3" fmla="*/ 6055048 w 6411625"/>
              <a:gd name="connsiteY3" fmla="*/ 1426307 h 1426307"/>
              <a:gd name="connsiteX4" fmla="*/ 0 w 6411625"/>
              <a:gd name="connsiteY4" fmla="*/ 1426307 h 1426307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713302 w 6069879"/>
              <a:gd name="connsiteY3" fmla="*/ 1426307 h 1463253"/>
              <a:gd name="connsiteX4" fmla="*/ 0 w 6069879"/>
              <a:gd name="connsiteY4" fmla="*/ 1463253 h 1463253"/>
              <a:gd name="connsiteX0" fmla="*/ 0 w 6069879"/>
              <a:gd name="connsiteY0" fmla="*/ 1463253 h 1463253"/>
              <a:gd name="connsiteX1" fmla="*/ 14831 w 6069879"/>
              <a:gd name="connsiteY1" fmla="*/ 0 h 1463253"/>
              <a:gd name="connsiteX2" fmla="*/ 6069879 w 6069879"/>
              <a:gd name="connsiteY2" fmla="*/ 0 h 1463253"/>
              <a:gd name="connsiteX3" fmla="*/ 5451806 w 6069879"/>
              <a:gd name="connsiteY3" fmla="*/ 1399576 h 1463253"/>
              <a:gd name="connsiteX4" fmla="*/ 0 w 6069879"/>
              <a:gd name="connsiteY4" fmla="*/ 1463253 h 1463253"/>
              <a:gd name="connsiteX0" fmla="*/ 0 w 5875456"/>
              <a:gd name="connsiteY0" fmla="*/ 1463253 h 1463253"/>
              <a:gd name="connsiteX1" fmla="*/ 14831 w 5875456"/>
              <a:gd name="connsiteY1" fmla="*/ 0 h 1463253"/>
              <a:gd name="connsiteX2" fmla="*/ 5875456 w 5875456"/>
              <a:gd name="connsiteY2" fmla="*/ 56054 h 1463253"/>
              <a:gd name="connsiteX3" fmla="*/ 5451806 w 5875456"/>
              <a:gd name="connsiteY3" fmla="*/ 1399576 h 1463253"/>
              <a:gd name="connsiteX4" fmla="*/ 0 w 5875456"/>
              <a:gd name="connsiteY4" fmla="*/ 1463253 h 1463253"/>
              <a:gd name="connsiteX0" fmla="*/ 0 w 6260554"/>
              <a:gd name="connsiteY0" fmla="*/ 1463253 h 1463253"/>
              <a:gd name="connsiteX1" fmla="*/ 14831 w 6260554"/>
              <a:gd name="connsiteY1" fmla="*/ 0 h 1463253"/>
              <a:gd name="connsiteX2" fmla="*/ 6260554 w 6260554"/>
              <a:gd name="connsiteY2" fmla="*/ 56054 h 1463253"/>
              <a:gd name="connsiteX3" fmla="*/ 5451806 w 6260554"/>
              <a:gd name="connsiteY3" fmla="*/ 1399576 h 1463253"/>
              <a:gd name="connsiteX4" fmla="*/ 0 w 6260554"/>
              <a:gd name="connsiteY4" fmla="*/ 1463253 h 1463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0554" h="1463253">
                <a:moveTo>
                  <a:pt x="0" y="1463253"/>
                </a:moveTo>
                <a:lnTo>
                  <a:pt x="14831" y="0"/>
                </a:lnTo>
                <a:lnTo>
                  <a:pt x="6260554" y="56054"/>
                </a:lnTo>
                <a:lnTo>
                  <a:pt x="5451806" y="1399576"/>
                </a:lnTo>
                <a:lnTo>
                  <a:pt x="0" y="1463253"/>
                </a:ln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80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84683A0-7E90-4EDB-8CC0-E2D173C04A8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/>
              <a:t>Funktionen/Befeh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E4D029-ACB6-423C-9301-C6322679CA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chemeClr val="bg1">
              <a:alpha val="35000"/>
            </a:schemeClr>
          </a:solidFill>
        </p:spPr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Beispiel</a:t>
            </a:r>
          </a:p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72D4E92-F867-4332-9E13-229FFDA0D32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/>
              <a:t>Einführu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AB5CE81-0B81-412D-9EE2-0AAF31B211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Eine Übersicht der Eckda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AC21A34-04C2-445A-BCD0-A54E13E005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C1A88D5-E006-4978-9E5A-A2D89F21ED9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/>
              <a:t>2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4B537D6-C76E-4368-9CB0-60CBB2DDFBB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BF5389A-3920-45E0-A3F6-AD561F72BF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89282" y="3090547"/>
            <a:ext cx="3463910" cy="332079"/>
          </a:xfrm>
        </p:spPr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Code zum Selbsterleb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0E179F5-F492-4ED4-A454-532B327DCF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24158" y="2115483"/>
            <a:ext cx="3789487" cy="332079"/>
          </a:xfrm>
        </p:spPr>
        <p:txBody>
          <a:bodyPr/>
          <a:lstStyle/>
          <a:p>
            <a:r>
              <a:rPr lang="de-DE"/>
              <a:t>Welche Features?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9A98AEB6-FC18-41CB-B4AB-DFB720E33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8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9509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14:flythrough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ocuhhelEKvHp4cNI02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UGzIpWukGrFUQY2_1Z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setVTI">
  <a:themeElements>
    <a:clrScheme name="AnalogousFromDarkSeedLeftStep">
      <a:dk1>
        <a:srgbClr val="000000"/>
      </a:dk1>
      <a:lt1>
        <a:srgbClr val="FFFFFF"/>
      </a:lt1>
      <a:dk2>
        <a:srgbClr val="1B2430"/>
      </a:dk2>
      <a:lt2>
        <a:srgbClr val="F0F3F1"/>
      </a:lt2>
      <a:accent1>
        <a:srgbClr val="C34DA6"/>
      </a:accent1>
      <a:accent2>
        <a:srgbClr val="9D3BB1"/>
      </a:accent2>
      <a:accent3>
        <a:srgbClr val="7E4DC3"/>
      </a:accent3>
      <a:accent4>
        <a:srgbClr val="4444B5"/>
      </a:accent4>
      <a:accent5>
        <a:srgbClr val="4D7EC3"/>
      </a:accent5>
      <a:accent6>
        <a:srgbClr val="3B9EB1"/>
      </a:accent6>
      <a:hlink>
        <a:srgbClr val="3F5FBF"/>
      </a:hlink>
      <a:folHlink>
        <a:srgbClr val="7F7F7F"/>
      </a:folHlink>
    </a:clrScheme>
    <a:fontScheme name="Dante">
      <a:majorFont>
        <a:latin typeface="Georgia Pro"/>
        <a:ea typeface=""/>
        <a:cs typeface=""/>
      </a:majorFont>
      <a:minorFont>
        <a:latin typeface="Georgia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setVTI" id="{17A3166B-76FF-4669-8F6D-D4251AE158D8}" vid="{4532814A-B5F8-4CFD-BC69-A007D492DA47}"/>
    </a:ext>
  </a:extLst>
</a:theme>
</file>

<file path=ppt/theme/theme2.xml><?xml version="1.0" encoding="utf-8"?>
<a:theme xmlns:a="http://schemas.openxmlformats.org/drawingml/2006/main" name="Porsche 16zu9 Mastervorlage ohne Navigation 2013">
  <a:themeElements>
    <a:clrScheme name="Porsche CI 2017 Farbpalette">
      <a:dk1>
        <a:sysClr val="windowText" lastClr="000000"/>
      </a:dk1>
      <a:lt1>
        <a:sysClr val="window" lastClr="FFFFFF"/>
      </a:lt1>
      <a:dk2>
        <a:srgbClr val="403F45"/>
      </a:dk2>
      <a:lt2>
        <a:srgbClr val="DAD9DE"/>
      </a:lt2>
      <a:accent1>
        <a:srgbClr val="737278"/>
      </a:accent1>
      <a:accent2>
        <a:srgbClr val="D5001C"/>
      </a:accent2>
      <a:accent3>
        <a:srgbClr val="B5B4BA"/>
      </a:accent3>
      <a:accent4>
        <a:srgbClr val="DAD9DE"/>
      </a:accent4>
      <a:accent5>
        <a:srgbClr val="FFFFFF"/>
      </a:accent5>
      <a:accent6>
        <a:srgbClr val="336699"/>
      </a:accent6>
      <a:hlink>
        <a:srgbClr val="B5B4BA"/>
      </a:hlink>
      <a:folHlink>
        <a:srgbClr val="DAD9DE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317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Custom Color 1">
      <a:srgbClr val="2A4B6D"/>
    </a:custClr>
    <a:custClr name="Custom Color 2">
      <a:srgbClr val="3A6B9B"/>
    </a:custClr>
    <a:custClr name="Custom Color 3">
      <a:srgbClr val="5391C4"/>
    </a:custClr>
    <a:custClr name="Custom Color 4">
      <a:srgbClr val="76AFDC"/>
    </a:custClr>
    <a:custClr name="Custom Color 5">
      <a:srgbClr val="658E11"/>
    </a:custClr>
    <a:custClr name="Custom Color 6">
      <a:srgbClr val="8CB527"/>
    </a:custClr>
    <a:custClr name="Custom Color 7">
      <a:srgbClr val="D88711"/>
    </a:custClr>
    <a:custClr name="Custom Color 8">
      <a:srgbClr val="F2A100"/>
    </a:custClr>
    <a:custClr name="Custom Color 9">
      <a:srgbClr val="94001B"/>
    </a:custClr>
    <a:custClr name="Custom Color 10">
      <a:srgbClr val="C32718"/>
    </a:custClr>
  </a:custClrLst>
  <a:extLst>
    <a:ext uri="{05A4C25C-085E-4340-85A3-A5531E510DB2}">
      <thm15:themeFamily xmlns:thm15="http://schemas.microsoft.com/office/thememl/2012/main" name="Porsche Präsentations-Master-Vorlagen.pptx" id="{1F5CB06A-EF12-4B65-BFD5-537058F6CA9C}" vid="{3D9C66F8-33BE-4D66-A7AF-F8B76D9C5AED}"/>
    </a:ext>
  </a:extLst>
</a:theme>
</file>

<file path=ppt/theme/theme3.xml><?xml version="1.0" encoding="utf-8"?>
<a:theme xmlns:a="http://schemas.openxmlformats.org/drawingml/2006/main" name="1_Porsche 16zu9 Mastervorlage ohne Navigation 2013">
  <a:themeElements>
    <a:clrScheme name="Porsche CI 2017 Farbpalette">
      <a:dk1>
        <a:sysClr val="windowText" lastClr="000000"/>
      </a:dk1>
      <a:lt1>
        <a:sysClr val="window" lastClr="FFFFFF"/>
      </a:lt1>
      <a:dk2>
        <a:srgbClr val="403F45"/>
      </a:dk2>
      <a:lt2>
        <a:srgbClr val="DAD9DE"/>
      </a:lt2>
      <a:accent1>
        <a:srgbClr val="737278"/>
      </a:accent1>
      <a:accent2>
        <a:srgbClr val="D5001C"/>
      </a:accent2>
      <a:accent3>
        <a:srgbClr val="B5B4BA"/>
      </a:accent3>
      <a:accent4>
        <a:srgbClr val="DAD9DE"/>
      </a:accent4>
      <a:accent5>
        <a:srgbClr val="FFFFFF"/>
      </a:accent5>
      <a:accent6>
        <a:srgbClr val="336699"/>
      </a:accent6>
      <a:hlink>
        <a:srgbClr val="B5B4BA"/>
      </a:hlink>
      <a:folHlink>
        <a:srgbClr val="DAD9DE"/>
      </a:folHlink>
    </a:clrScheme>
    <a:fontScheme name="Porsche Next TT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317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Custom Color 1">
      <a:srgbClr val="2A4B6D"/>
    </a:custClr>
    <a:custClr name="Custom Color 2">
      <a:srgbClr val="3A6B9B"/>
    </a:custClr>
    <a:custClr name="Custom Color 3">
      <a:srgbClr val="5391C4"/>
    </a:custClr>
    <a:custClr name="Custom Color 4">
      <a:srgbClr val="76AFDC"/>
    </a:custClr>
    <a:custClr name="Custom Color 5">
      <a:srgbClr val="658E11"/>
    </a:custClr>
    <a:custClr name="Custom Color 6">
      <a:srgbClr val="8CB527"/>
    </a:custClr>
    <a:custClr name="Custom Color 7">
      <a:srgbClr val="D88711"/>
    </a:custClr>
    <a:custClr name="Custom Color 8">
      <a:srgbClr val="F2A100"/>
    </a:custClr>
    <a:custClr name="Custom Color 9">
      <a:srgbClr val="94001B"/>
    </a:custClr>
    <a:custClr name="Custom Color 10">
      <a:srgbClr val="C32718"/>
    </a:custClr>
  </a:custClrLst>
  <a:extLst>
    <a:ext uri="{05A4C25C-085E-4340-85A3-A5531E510DB2}">
      <thm15:themeFamily xmlns:thm15="http://schemas.microsoft.com/office/thememl/2012/main" name="Porsche Präsentations-Master-Vorlagen.pptx" id="{1F5CB06A-EF12-4B65-BFD5-537058F6CA9C}" vid="{3D9C66F8-33BE-4D66-A7AF-F8B76D9C5AED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4</Words>
  <Application>Microsoft Office PowerPoint</Application>
  <PresentationFormat>Breitbild</PresentationFormat>
  <Paragraphs>82</Paragraphs>
  <Slides>10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5" baseType="lpstr">
      <vt:lpstr>Arial</vt:lpstr>
      <vt:lpstr>Calibri</vt:lpstr>
      <vt:lpstr>Dante (Headings)2</vt:lpstr>
      <vt:lpstr>Georgia Pro</vt:lpstr>
      <vt:lpstr>NewsGoth for Porsche Com</vt:lpstr>
      <vt:lpstr>Porsche News Gothic</vt:lpstr>
      <vt:lpstr>Porsche Next TT</vt:lpstr>
      <vt:lpstr>Symbol</vt:lpstr>
      <vt:lpstr>Systemschrift</vt:lpstr>
      <vt:lpstr>Wingdings</vt:lpstr>
      <vt:lpstr>Wingdings 2</vt:lpstr>
      <vt:lpstr>OffsetVTI</vt:lpstr>
      <vt:lpstr>Porsche 16zu9 Mastervorlage ohne Navigation 2013</vt:lpstr>
      <vt:lpstr>1_Porsche 16zu9 Mastervorlage ohne Navigation 2013</vt:lpstr>
      <vt:lpstr>think-cell Folie</vt:lpstr>
      <vt:lpstr>PowerPoint-Präsentation</vt:lpstr>
      <vt:lpstr>Agenda</vt:lpstr>
      <vt:lpstr>Agenda</vt:lpstr>
      <vt:lpstr>Einführung </vt:lpstr>
      <vt:lpstr>Agenda</vt:lpstr>
      <vt:lpstr>Funktionen und Befehle </vt:lpstr>
      <vt:lpstr>Funktionen und Befehle </vt:lpstr>
      <vt:lpstr>Funktionen und Befehle </vt:lpstr>
      <vt:lpstr>Agenda</vt:lpstr>
      <vt:lpstr>Quell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aul Fetscher;Susann Kindler</dc:creator>
  <cp:lastModifiedBy>Paul Fetscher</cp:lastModifiedBy>
  <cp:revision>2</cp:revision>
  <dcterms:created xsi:type="dcterms:W3CDTF">2020-11-21T11:19:26Z</dcterms:created>
  <dcterms:modified xsi:type="dcterms:W3CDTF">2021-05-05T21:57:40Z</dcterms:modified>
</cp:coreProperties>
</file>